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3" r:id="rId1"/>
    <p:sldMasterId id="2147484329" r:id="rId2"/>
  </p:sldMasterIdLst>
  <p:notesMasterIdLst>
    <p:notesMasterId r:id="rId27"/>
  </p:notesMasterIdLst>
  <p:sldIdLst>
    <p:sldId id="2147471972" r:id="rId3"/>
    <p:sldId id="277" r:id="rId4"/>
    <p:sldId id="278" r:id="rId5"/>
    <p:sldId id="2147471971" r:id="rId6"/>
    <p:sldId id="300" r:id="rId7"/>
    <p:sldId id="297" r:id="rId8"/>
    <p:sldId id="2147471966" r:id="rId9"/>
    <p:sldId id="2147471977" r:id="rId10"/>
    <p:sldId id="2147471960" r:id="rId11"/>
    <p:sldId id="2147471979" r:id="rId12"/>
    <p:sldId id="2147471965" r:id="rId13"/>
    <p:sldId id="2147471970" r:id="rId14"/>
    <p:sldId id="2147471969" r:id="rId15"/>
    <p:sldId id="2147471976" r:id="rId16"/>
    <p:sldId id="280" r:id="rId17"/>
    <p:sldId id="2147471967" r:id="rId18"/>
    <p:sldId id="2147471930" r:id="rId19"/>
    <p:sldId id="2147471963" r:id="rId20"/>
    <p:sldId id="2147471968" r:id="rId21"/>
    <p:sldId id="2147471936" r:id="rId22"/>
    <p:sldId id="2147471945" r:id="rId23"/>
    <p:sldId id="2147471974" r:id="rId24"/>
    <p:sldId id="2147471980" r:id="rId25"/>
    <p:sldId id="2147471981" r:id="rId2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5608A19-C3D3-43E6-860E-454302617F17}">
          <p14:sldIdLst/>
        </p14:section>
        <p14:section name="Untitled Section" id="{DD052F88-1CED-4AC7-AD90-273DFAFDED51}">
          <p14:sldIdLst/>
        </p14:section>
        <p14:section name="+ Default" id="{AC21715C-4E5E-4ECE-9836-ED9758247A6E}">
          <p14:sldIdLst>
            <p14:sldId id="2147471972"/>
            <p14:sldId id="277"/>
            <p14:sldId id="278"/>
            <p14:sldId id="2147471971"/>
            <p14:sldId id="300"/>
            <p14:sldId id="297"/>
            <p14:sldId id="2147471966"/>
            <p14:sldId id="2147471977"/>
            <p14:sldId id="2147471960"/>
            <p14:sldId id="2147471979"/>
            <p14:sldId id="2147471965"/>
            <p14:sldId id="2147471970"/>
            <p14:sldId id="2147471969"/>
            <p14:sldId id="2147471976"/>
            <p14:sldId id="280"/>
            <p14:sldId id="2147471967"/>
            <p14:sldId id="2147471930"/>
            <p14:sldId id="2147471963"/>
            <p14:sldId id="2147471968"/>
            <p14:sldId id="2147471936"/>
            <p14:sldId id="2147471945"/>
            <p14:sldId id="2147471974"/>
            <p14:sldId id="2147471980"/>
            <p14:sldId id="214747198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660"/>
  </p:normalViewPr>
  <p:slideViewPr>
    <p:cSldViewPr snapToGrid="0">
      <p:cViewPr varScale="1">
        <p:scale>
          <a:sx n="59" d="100"/>
          <a:sy n="59" d="100"/>
        </p:scale>
        <p:origin x="92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microsoft.com/office/2016/11/relationships/changesInfo" Target="changesInfos/changesInfo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-Marie Carrey" userId="f9afc4aa67827740" providerId="LiveId" clId="{89FC2E44-86AF-4521-902E-CA8F8113BB76}"/>
    <pc:docChg chg="delSld delMainMaster modSection">
      <pc:chgData name="Ann-Marie Carrey" userId="f9afc4aa67827740" providerId="LiveId" clId="{89FC2E44-86AF-4521-902E-CA8F8113BB76}" dt="2026-07-02T10:50:07.019" v="17" actId="2696"/>
      <pc:docMkLst>
        <pc:docMk/>
      </pc:docMkLst>
      <pc:sldChg chg="del">
        <pc:chgData name="Ann-Marie Carrey" userId="f9afc4aa67827740" providerId="LiveId" clId="{89FC2E44-86AF-4521-902E-CA8F8113BB76}" dt="2026-07-02T10:49:54.811" v="13" actId="2696"/>
        <pc:sldMkLst>
          <pc:docMk/>
          <pc:sldMk cId="3838327711" sldId="282"/>
        </pc:sldMkLst>
      </pc:sldChg>
      <pc:sldChg chg="del">
        <pc:chgData name="Ann-Marie Carrey" userId="f9afc4aa67827740" providerId="LiveId" clId="{89FC2E44-86AF-4521-902E-CA8F8113BB76}" dt="2026-07-02T10:50:07.019" v="17" actId="2696"/>
        <pc:sldMkLst>
          <pc:docMk/>
          <pc:sldMk cId="2599453373" sldId="283"/>
        </pc:sldMkLst>
      </pc:sldChg>
      <pc:sldChg chg="del">
        <pc:chgData name="Ann-Marie Carrey" userId="f9afc4aa67827740" providerId="LiveId" clId="{89FC2E44-86AF-4521-902E-CA8F8113BB76}" dt="2026-07-02T10:48:15.755" v="12" actId="2696"/>
        <pc:sldMkLst>
          <pc:docMk/>
          <pc:sldMk cId="2629797643" sldId="287"/>
        </pc:sldMkLst>
      </pc:sldChg>
      <pc:sldChg chg="del">
        <pc:chgData name="Ann-Marie Carrey" userId="f9afc4aa67827740" providerId="LiveId" clId="{89FC2E44-86AF-4521-902E-CA8F8113BB76}" dt="2026-07-02T10:48:09.581" v="10" actId="2696"/>
        <pc:sldMkLst>
          <pc:docMk/>
          <pc:sldMk cId="2611989352" sldId="289"/>
        </pc:sldMkLst>
      </pc:sldChg>
      <pc:sldChg chg="del">
        <pc:chgData name="Ann-Marie Carrey" userId="f9afc4aa67827740" providerId="LiveId" clId="{89FC2E44-86AF-4521-902E-CA8F8113BB76}" dt="2026-07-02T10:47:47.945" v="2" actId="2696"/>
        <pc:sldMkLst>
          <pc:docMk/>
          <pc:sldMk cId="1525479594" sldId="290"/>
        </pc:sldMkLst>
      </pc:sldChg>
      <pc:sldChg chg="del">
        <pc:chgData name="Ann-Marie Carrey" userId="f9afc4aa67827740" providerId="LiveId" clId="{89FC2E44-86AF-4521-902E-CA8F8113BB76}" dt="2026-07-02T10:48:11.707" v="11" actId="2696"/>
        <pc:sldMkLst>
          <pc:docMk/>
          <pc:sldMk cId="1692538755" sldId="293"/>
        </pc:sldMkLst>
      </pc:sldChg>
      <pc:sldChg chg="del">
        <pc:chgData name="Ann-Marie Carrey" userId="f9afc4aa67827740" providerId="LiveId" clId="{89FC2E44-86AF-4521-902E-CA8F8113BB76}" dt="2026-07-02T10:47:59.355" v="6" actId="2696"/>
        <pc:sldMkLst>
          <pc:docMk/>
          <pc:sldMk cId="4159889381" sldId="295"/>
        </pc:sldMkLst>
      </pc:sldChg>
      <pc:sldChg chg="del">
        <pc:chgData name="Ann-Marie Carrey" userId="f9afc4aa67827740" providerId="LiveId" clId="{89FC2E44-86AF-4521-902E-CA8F8113BB76}" dt="2026-07-02T10:32:12.194" v="0" actId="2696"/>
        <pc:sldMkLst>
          <pc:docMk/>
          <pc:sldMk cId="4242663512" sldId="855"/>
        </pc:sldMkLst>
      </pc:sldChg>
      <pc:sldChg chg="del">
        <pc:chgData name="Ann-Marie Carrey" userId="f9afc4aa67827740" providerId="LiveId" clId="{89FC2E44-86AF-4521-902E-CA8F8113BB76}" dt="2026-07-02T10:47:45.790" v="1" actId="2696"/>
        <pc:sldMkLst>
          <pc:docMk/>
          <pc:sldMk cId="159482120" sldId="907"/>
        </pc:sldMkLst>
      </pc:sldChg>
      <pc:sldChg chg="del">
        <pc:chgData name="Ann-Marie Carrey" userId="f9afc4aa67827740" providerId="LiveId" clId="{89FC2E44-86AF-4521-902E-CA8F8113BB76}" dt="2026-07-02T10:48:03.916" v="7" actId="2696"/>
        <pc:sldMkLst>
          <pc:docMk/>
          <pc:sldMk cId="17066206" sldId="2147471946"/>
        </pc:sldMkLst>
      </pc:sldChg>
      <pc:sldChg chg="del">
        <pc:chgData name="Ann-Marie Carrey" userId="f9afc4aa67827740" providerId="LiveId" clId="{89FC2E44-86AF-4521-902E-CA8F8113BB76}" dt="2026-07-02T10:48:05.612" v="8" actId="2696"/>
        <pc:sldMkLst>
          <pc:docMk/>
          <pc:sldMk cId="225268198" sldId="2147471947"/>
        </pc:sldMkLst>
      </pc:sldChg>
      <pc:sldChg chg="del">
        <pc:chgData name="Ann-Marie Carrey" userId="f9afc4aa67827740" providerId="LiveId" clId="{89FC2E44-86AF-4521-902E-CA8F8113BB76}" dt="2026-07-02T10:48:07.473" v="9" actId="2696"/>
        <pc:sldMkLst>
          <pc:docMk/>
          <pc:sldMk cId="2580931107" sldId="2147471948"/>
        </pc:sldMkLst>
      </pc:sldChg>
      <pc:sldChg chg="del">
        <pc:chgData name="Ann-Marie Carrey" userId="f9afc4aa67827740" providerId="LiveId" clId="{89FC2E44-86AF-4521-902E-CA8F8113BB76}" dt="2026-07-02T10:47:50.438" v="3" actId="2696"/>
        <pc:sldMkLst>
          <pc:docMk/>
          <pc:sldMk cId="2875805061" sldId="2147471949"/>
        </pc:sldMkLst>
      </pc:sldChg>
      <pc:sldChg chg="del">
        <pc:chgData name="Ann-Marie Carrey" userId="f9afc4aa67827740" providerId="LiveId" clId="{89FC2E44-86AF-4521-902E-CA8F8113BB76}" dt="2026-07-02T10:47:52.437" v="4" actId="2696"/>
        <pc:sldMkLst>
          <pc:docMk/>
          <pc:sldMk cId="3753964592" sldId="2147471950"/>
        </pc:sldMkLst>
      </pc:sldChg>
      <pc:sldChg chg="del">
        <pc:chgData name="Ann-Marie Carrey" userId="f9afc4aa67827740" providerId="LiveId" clId="{89FC2E44-86AF-4521-902E-CA8F8113BB76}" dt="2026-07-02T10:47:54.586" v="5" actId="2696"/>
        <pc:sldMkLst>
          <pc:docMk/>
          <pc:sldMk cId="3375203543" sldId="2147471951"/>
        </pc:sldMkLst>
      </pc:sldChg>
      <pc:sldChg chg="del">
        <pc:chgData name="Ann-Marie Carrey" userId="f9afc4aa67827740" providerId="LiveId" clId="{89FC2E44-86AF-4521-902E-CA8F8113BB76}" dt="2026-07-02T10:50:03.618" v="16" actId="2696"/>
        <pc:sldMkLst>
          <pc:docMk/>
          <pc:sldMk cId="865836093" sldId="2147472197"/>
        </pc:sldMkLst>
      </pc:sldChg>
      <pc:sldChg chg="del">
        <pc:chgData name="Ann-Marie Carrey" userId="f9afc4aa67827740" providerId="LiveId" clId="{89FC2E44-86AF-4521-902E-CA8F8113BB76}" dt="2026-07-02T10:49:58.681" v="14" actId="2696"/>
        <pc:sldMkLst>
          <pc:docMk/>
          <pc:sldMk cId="2854779572" sldId="2147472198"/>
        </pc:sldMkLst>
      </pc:sldChg>
      <pc:sldChg chg="del">
        <pc:chgData name="Ann-Marie Carrey" userId="f9afc4aa67827740" providerId="LiveId" clId="{89FC2E44-86AF-4521-902E-CA8F8113BB76}" dt="2026-07-02T10:50:01.320" v="15" actId="2696"/>
        <pc:sldMkLst>
          <pc:docMk/>
          <pc:sldMk cId="1537015289" sldId="2147472199"/>
        </pc:sldMkLst>
      </pc:sldChg>
      <pc:sldMasterChg chg="del delSldLayout">
        <pc:chgData name="Ann-Marie Carrey" userId="f9afc4aa67827740" providerId="LiveId" clId="{89FC2E44-86AF-4521-902E-CA8F8113BB76}" dt="2026-07-02T10:32:12.194" v="0" actId="2696"/>
        <pc:sldMasterMkLst>
          <pc:docMk/>
          <pc:sldMasterMk cId="1309362835" sldId="2147483660"/>
        </pc:sldMasterMkLst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2255194032" sldId="2147483661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3712746618" sldId="2147483662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2330848341" sldId="2147483663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690858678" sldId="2147483664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2834901061" sldId="2147483665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862210021" sldId="2147483666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355981256" sldId="2147483667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876836970" sldId="2147483668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4261172940" sldId="2147483669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542828602" sldId="2147483670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292947661" sldId="2147483671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4003740012" sldId="2147483672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3446958211" sldId="2147483673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1276912988" sldId="2147483674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1634750569" sldId="2147483675"/>
          </pc:sldLayoutMkLst>
        </pc:sldLayoutChg>
        <pc:sldLayoutChg chg="del">
          <pc:chgData name="Ann-Marie Carrey" userId="f9afc4aa67827740" providerId="LiveId" clId="{89FC2E44-86AF-4521-902E-CA8F8113BB76}" dt="2026-07-02T10:32:12.194" v="0" actId="2696"/>
          <pc:sldLayoutMkLst>
            <pc:docMk/>
            <pc:sldMasterMk cId="1309362835" sldId="2147483660"/>
            <pc:sldLayoutMk cId="2615938847" sldId="2147483676"/>
          </pc:sldLayoutMkLst>
        </pc:sldLayoutChg>
      </pc:sldMasterChg>
      <pc:sldMasterChg chg="del delSldLayout">
        <pc:chgData name="Ann-Marie Carrey" userId="f9afc4aa67827740" providerId="LiveId" clId="{89FC2E44-86AF-4521-902E-CA8F8113BB76}" dt="2026-07-02T10:50:07.019" v="17" actId="2696"/>
        <pc:sldMasterMkLst>
          <pc:docMk/>
          <pc:sldMasterMk cId="1210779615" sldId="2147483723"/>
        </pc:sldMasterMkLst>
        <pc:sldLayoutChg chg="del">
          <pc:chgData name="Ann-Marie Carrey" userId="f9afc4aa67827740" providerId="LiveId" clId="{89FC2E44-86AF-4521-902E-CA8F8113BB76}" dt="2026-07-02T10:50:07.019" v="17" actId="2696"/>
          <pc:sldLayoutMkLst>
            <pc:docMk/>
            <pc:sldMasterMk cId="1210779615" sldId="2147483723"/>
            <pc:sldLayoutMk cId="1409440427" sldId="2147483724"/>
          </pc:sldLayoutMkLst>
        </pc:sldLayoutChg>
        <pc:sldLayoutChg chg="del">
          <pc:chgData name="Ann-Marie Carrey" userId="f9afc4aa67827740" providerId="LiveId" clId="{89FC2E44-86AF-4521-902E-CA8F8113BB76}" dt="2026-07-02T10:50:07.019" v="17" actId="2696"/>
          <pc:sldLayoutMkLst>
            <pc:docMk/>
            <pc:sldMasterMk cId="1210779615" sldId="2147483723"/>
            <pc:sldLayoutMk cId="4161749284" sldId="2147483725"/>
          </pc:sldLayoutMkLst>
        </pc:sldLayoutChg>
        <pc:sldLayoutChg chg="del">
          <pc:chgData name="Ann-Marie Carrey" userId="f9afc4aa67827740" providerId="LiveId" clId="{89FC2E44-86AF-4521-902E-CA8F8113BB76}" dt="2026-07-02T10:50:07.019" v="17" actId="2696"/>
          <pc:sldLayoutMkLst>
            <pc:docMk/>
            <pc:sldMasterMk cId="1210779615" sldId="2147483723"/>
            <pc:sldLayoutMk cId="3630363048" sldId="2147483726"/>
          </pc:sldLayoutMkLst>
        </pc:sldLayoutChg>
        <pc:sldLayoutChg chg="del">
          <pc:chgData name="Ann-Marie Carrey" userId="f9afc4aa67827740" providerId="LiveId" clId="{89FC2E44-86AF-4521-902E-CA8F8113BB76}" dt="2026-07-02T10:50:07.019" v="17" actId="2696"/>
          <pc:sldLayoutMkLst>
            <pc:docMk/>
            <pc:sldMasterMk cId="1210779615" sldId="2147483723"/>
            <pc:sldLayoutMk cId="2133359076" sldId="2147483727"/>
          </pc:sldLayoutMkLst>
        </pc:sldLayoutChg>
        <pc:sldLayoutChg chg="del">
          <pc:chgData name="Ann-Marie Carrey" userId="f9afc4aa67827740" providerId="LiveId" clId="{89FC2E44-86AF-4521-902E-CA8F8113BB76}" dt="2026-07-02T10:50:07.019" v="17" actId="2696"/>
          <pc:sldLayoutMkLst>
            <pc:docMk/>
            <pc:sldMasterMk cId="1210779615" sldId="2147483723"/>
            <pc:sldLayoutMk cId="2883835528" sldId="2147483728"/>
          </pc:sldLayoutMkLst>
        </pc:sldLayoutChg>
        <pc:sldLayoutChg chg="del">
          <pc:chgData name="Ann-Marie Carrey" userId="f9afc4aa67827740" providerId="LiveId" clId="{89FC2E44-86AF-4521-902E-CA8F8113BB76}" dt="2026-07-02T10:50:07.019" v="17" actId="2696"/>
          <pc:sldLayoutMkLst>
            <pc:docMk/>
            <pc:sldMasterMk cId="1210779615" sldId="2147483723"/>
            <pc:sldLayoutMk cId="3125749995" sldId="2147483729"/>
          </pc:sldLayoutMkLst>
        </pc:sldLayoutChg>
        <pc:sldLayoutChg chg="del">
          <pc:chgData name="Ann-Marie Carrey" userId="f9afc4aa67827740" providerId="LiveId" clId="{89FC2E44-86AF-4521-902E-CA8F8113BB76}" dt="2026-07-02T10:50:07.019" v="17" actId="2696"/>
          <pc:sldLayoutMkLst>
            <pc:docMk/>
            <pc:sldMasterMk cId="1210779615" sldId="2147483723"/>
            <pc:sldLayoutMk cId="4207135323" sldId="2147483730"/>
          </pc:sldLayoutMkLst>
        </pc:sldLayoutChg>
        <pc:sldLayoutChg chg="del">
          <pc:chgData name="Ann-Marie Carrey" userId="f9afc4aa67827740" providerId="LiveId" clId="{89FC2E44-86AF-4521-902E-CA8F8113BB76}" dt="2026-07-02T10:50:07.019" v="17" actId="2696"/>
          <pc:sldLayoutMkLst>
            <pc:docMk/>
            <pc:sldMasterMk cId="1210779615" sldId="2147483723"/>
            <pc:sldLayoutMk cId="2489225053" sldId="2147483731"/>
          </pc:sldLayoutMkLst>
        </pc:sldLayoutChg>
        <pc:sldLayoutChg chg="del">
          <pc:chgData name="Ann-Marie Carrey" userId="f9afc4aa67827740" providerId="LiveId" clId="{89FC2E44-86AF-4521-902E-CA8F8113BB76}" dt="2026-07-02T10:50:07.019" v="17" actId="2696"/>
          <pc:sldLayoutMkLst>
            <pc:docMk/>
            <pc:sldMasterMk cId="1210779615" sldId="2147483723"/>
            <pc:sldLayoutMk cId="1444616772" sldId="2147483732"/>
          </pc:sldLayoutMkLst>
        </pc:sldLayoutChg>
        <pc:sldLayoutChg chg="del">
          <pc:chgData name="Ann-Marie Carrey" userId="f9afc4aa67827740" providerId="LiveId" clId="{89FC2E44-86AF-4521-902E-CA8F8113BB76}" dt="2026-07-02T10:50:07.019" v="17" actId="2696"/>
          <pc:sldLayoutMkLst>
            <pc:docMk/>
            <pc:sldMasterMk cId="1210779615" sldId="2147483723"/>
            <pc:sldLayoutMk cId="145549146" sldId="2147483733"/>
          </pc:sldLayoutMkLst>
        </pc:sldLayoutChg>
        <pc:sldLayoutChg chg="del">
          <pc:chgData name="Ann-Marie Carrey" userId="f9afc4aa67827740" providerId="LiveId" clId="{89FC2E44-86AF-4521-902E-CA8F8113BB76}" dt="2026-07-02T10:50:07.019" v="17" actId="2696"/>
          <pc:sldLayoutMkLst>
            <pc:docMk/>
            <pc:sldMasterMk cId="1210779615" sldId="2147483723"/>
            <pc:sldLayoutMk cId="3109334325" sldId="2147483734"/>
          </pc:sldLayoutMkLst>
        </pc:sldLayoutChg>
        <pc:sldLayoutChg chg="del">
          <pc:chgData name="Ann-Marie Carrey" userId="f9afc4aa67827740" providerId="LiveId" clId="{89FC2E44-86AF-4521-902E-CA8F8113BB76}" dt="2026-07-02T10:50:07.019" v="17" actId="2696"/>
          <pc:sldLayoutMkLst>
            <pc:docMk/>
            <pc:sldMasterMk cId="1210779615" sldId="2147483723"/>
            <pc:sldLayoutMk cId="4227832910" sldId="2147483735"/>
          </pc:sldLayoutMkLst>
        </pc:sldLayoutChg>
        <pc:sldLayoutChg chg="del">
          <pc:chgData name="Ann-Marie Carrey" userId="f9afc4aa67827740" providerId="LiveId" clId="{89FC2E44-86AF-4521-902E-CA8F8113BB76}" dt="2026-07-02T10:50:07.019" v="17" actId="2696"/>
          <pc:sldLayoutMkLst>
            <pc:docMk/>
            <pc:sldMasterMk cId="1210779615" sldId="2147483723"/>
            <pc:sldLayoutMk cId="1184894061" sldId="2147483736"/>
          </pc:sldLayoutMkLst>
        </pc:sldLayoutChg>
        <pc:sldLayoutChg chg="del">
          <pc:chgData name="Ann-Marie Carrey" userId="f9afc4aa67827740" providerId="LiveId" clId="{89FC2E44-86AF-4521-902E-CA8F8113BB76}" dt="2026-07-02T10:50:07.019" v="17" actId="2696"/>
          <pc:sldLayoutMkLst>
            <pc:docMk/>
            <pc:sldMasterMk cId="1210779615" sldId="2147483723"/>
            <pc:sldLayoutMk cId="3713032585" sldId="2147483737"/>
          </pc:sldLayoutMkLst>
        </pc:sldLayoutChg>
        <pc:sldLayoutChg chg="del">
          <pc:chgData name="Ann-Marie Carrey" userId="f9afc4aa67827740" providerId="LiveId" clId="{89FC2E44-86AF-4521-902E-CA8F8113BB76}" dt="2026-07-02T10:50:07.019" v="17" actId="2696"/>
          <pc:sldLayoutMkLst>
            <pc:docMk/>
            <pc:sldMasterMk cId="1210779615" sldId="2147483723"/>
            <pc:sldLayoutMk cId="1370680317" sldId="2147483738"/>
          </pc:sldLayoutMkLst>
        </pc:sldLayoutChg>
      </pc:sldMasterChg>
      <pc:sldMasterChg chg="del delSldLayout">
        <pc:chgData name="Ann-Marie Carrey" userId="f9afc4aa67827740" providerId="LiveId" clId="{89FC2E44-86AF-4521-902E-CA8F8113BB76}" dt="2026-07-02T10:49:54.811" v="13" actId="2696"/>
        <pc:sldMasterMkLst>
          <pc:docMk/>
          <pc:sldMasterMk cId="3236490914" sldId="2147483739"/>
        </pc:sldMasterMkLst>
        <pc:sldLayoutChg chg="del">
          <pc:chgData name="Ann-Marie Carrey" userId="f9afc4aa67827740" providerId="LiveId" clId="{89FC2E44-86AF-4521-902E-CA8F8113BB76}" dt="2026-07-02T10:49:54.811" v="13" actId="2696"/>
          <pc:sldLayoutMkLst>
            <pc:docMk/>
            <pc:sldMasterMk cId="3236490914" sldId="2147483739"/>
            <pc:sldLayoutMk cId="327560779" sldId="2147483740"/>
          </pc:sldLayoutMkLst>
        </pc:sldLayoutChg>
        <pc:sldLayoutChg chg="del">
          <pc:chgData name="Ann-Marie Carrey" userId="f9afc4aa67827740" providerId="LiveId" clId="{89FC2E44-86AF-4521-902E-CA8F8113BB76}" dt="2026-07-02T10:49:54.811" v="13" actId="2696"/>
          <pc:sldLayoutMkLst>
            <pc:docMk/>
            <pc:sldMasterMk cId="3236490914" sldId="2147483739"/>
            <pc:sldLayoutMk cId="1514298897" sldId="2147483741"/>
          </pc:sldLayoutMkLst>
        </pc:sldLayoutChg>
        <pc:sldLayoutChg chg="del">
          <pc:chgData name="Ann-Marie Carrey" userId="f9afc4aa67827740" providerId="LiveId" clId="{89FC2E44-86AF-4521-902E-CA8F8113BB76}" dt="2026-07-02T10:49:54.811" v="13" actId="2696"/>
          <pc:sldLayoutMkLst>
            <pc:docMk/>
            <pc:sldMasterMk cId="3236490914" sldId="2147483739"/>
            <pc:sldLayoutMk cId="35007484" sldId="2147483742"/>
          </pc:sldLayoutMkLst>
        </pc:sldLayoutChg>
        <pc:sldLayoutChg chg="del">
          <pc:chgData name="Ann-Marie Carrey" userId="f9afc4aa67827740" providerId="LiveId" clId="{89FC2E44-86AF-4521-902E-CA8F8113BB76}" dt="2026-07-02T10:49:54.811" v="13" actId="2696"/>
          <pc:sldLayoutMkLst>
            <pc:docMk/>
            <pc:sldMasterMk cId="3236490914" sldId="2147483739"/>
            <pc:sldLayoutMk cId="3408027722" sldId="2147483743"/>
          </pc:sldLayoutMkLst>
        </pc:sldLayoutChg>
        <pc:sldLayoutChg chg="del">
          <pc:chgData name="Ann-Marie Carrey" userId="f9afc4aa67827740" providerId="LiveId" clId="{89FC2E44-86AF-4521-902E-CA8F8113BB76}" dt="2026-07-02T10:49:54.811" v="13" actId="2696"/>
          <pc:sldLayoutMkLst>
            <pc:docMk/>
            <pc:sldMasterMk cId="3236490914" sldId="2147483739"/>
            <pc:sldLayoutMk cId="1546817507" sldId="2147483744"/>
          </pc:sldLayoutMkLst>
        </pc:sldLayoutChg>
        <pc:sldLayoutChg chg="del">
          <pc:chgData name="Ann-Marie Carrey" userId="f9afc4aa67827740" providerId="LiveId" clId="{89FC2E44-86AF-4521-902E-CA8F8113BB76}" dt="2026-07-02T10:49:54.811" v="13" actId="2696"/>
          <pc:sldLayoutMkLst>
            <pc:docMk/>
            <pc:sldMasterMk cId="3236490914" sldId="2147483739"/>
            <pc:sldLayoutMk cId="1758222468" sldId="2147483745"/>
          </pc:sldLayoutMkLst>
        </pc:sldLayoutChg>
        <pc:sldLayoutChg chg="del">
          <pc:chgData name="Ann-Marie Carrey" userId="f9afc4aa67827740" providerId="LiveId" clId="{89FC2E44-86AF-4521-902E-CA8F8113BB76}" dt="2026-07-02T10:49:54.811" v="13" actId="2696"/>
          <pc:sldLayoutMkLst>
            <pc:docMk/>
            <pc:sldMasterMk cId="3236490914" sldId="2147483739"/>
            <pc:sldLayoutMk cId="1842041877" sldId="2147483746"/>
          </pc:sldLayoutMkLst>
        </pc:sldLayoutChg>
        <pc:sldLayoutChg chg="del">
          <pc:chgData name="Ann-Marie Carrey" userId="f9afc4aa67827740" providerId="LiveId" clId="{89FC2E44-86AF-4521-902E-CA8F8113BB76}" dt="2026-07-02T10:49:54.811" v="13" actId="2696"/>
          <pc:sldLayoutMkLst>
            <pc:docMk/>
            <pc:sldMasterMk cId="3236490914" sldId="2147483739"/>
            <pc:sldLayoutMk cId="1826020791" sldId="2147483747"/>
          </pc:sldLayoutMkLst>
        </pc:sldLayoutChg>
        <pc:sldLayoutChg chg="del">
          <pc:chgData name="Ann-Marie Carrey" userId="f9afc4aa67827740" providerId="LiveId" clId="{89FC2E44-86AF-4521-902E-CA8F8113BB76}" dt="2026-07-02T10:49:54.811" v="13" actId="2696"/>
          <pc:sldLayoutMkLst>
            <pc:docMk/>
            <pc:sldMasterMk cId="3236490914" sldId="2147483739"/>
            <pc:sldLayoutMk cId="2992052933" sldId="2147483748"/>
          </pc:sldLayoutMkLst>
        </pc:sldLayoutChg>
        <pc:sldLayoutChg chg="del">
          <pc:chgData name="Ann-Marie Carrey" userId="f9afc4aa67827740" providerId="LiveId" clId="{89FC2E44-86AF-4521-902E-CA8F8113BB76}" dt="2026-07-02T10:49:54.811" v="13" actId="2696"/>
          <pc:sldLayoutMkLst>
            <pc:docMk/>
            <pc:sldMasterMk cId="3236490914" sldId="2147483739"/>
            <pc:sldLayoutMk cId="1912543562" sldId="2147483749"/>
          </pc:sldLayoutMkLst>
        </pc:sldLayoutChg>
        <pc:sldLayoutChg chg="del">
          <pc:chgData name="Ann-Marie Carrey" userId="f9afc4aa67827740" providerId="LiveId" clId="{89FC2E44-86AF-4521-902E-CA8F8113BB76}" dt="2026-07-02T10:49:54.811" v="13" actId="2696"/>
          <pc:sldLayoutMkLst>
            <pc:docMk/>
            <pc:sldMasterMk cId="3236490914" sldId="2147483739"/>
            <pc:sldLayoutMk cId="1906480208" sldId="2147483750"/>
          </pc:sldLayoutMkLst>
        </pc:sldLayoutChg>
        <pc:sldLayoutChg chg="del">
          <pc:chgData name="Ann-Marie Carrey" userId="f9afc4aa67827740" providerId="LiveId" clId="{89FC2E44-86AF-4521-902E-CA8F8113BB76}" dt="2026-07-02T10:49:54.811" v="13" actId="2696"/>
          <pc:sldLayoutMkLst>
            <pc:docMk/>
            <pc:sldMasterMk cId="3236490914" sldId="2147483739"/>
            <pc:sldLayoutMk cId="2497870468" sldId="2147483751"/>
          </pc:sldLayoutMkLst>
        </pc:sldLayoutChg>
        <pc:sldLayoutChg chg="del">
          <pc:chgData name="Ann-Marie Carrey" userId="f9afc4aa67827740" providerId="LiveId" clId="{89FC2E44-86AF-4521-902E-CA8F8113BB76}" dt="2026-07-02T10:49:54.811" v="13" actId="2696"/>
          <pc:sldLayoutMkLst>
            <pc:docMk/>
            <pc:sldMasterMk cId="3236490914" sldId="2147483739"/>
            <pc:sldLayoutMk cId="510757363" sldId="2147483752"/>
          </pc:sldLayoutMkLst>
        </pc:sldLayoutChg>
      </pc:sldMasterChg>
      <pc:sldMasterChg chg="delSldLayout">
        <pc:chgData name="Ann-Marie Carrey" userId="f9afc4aa67827740" providerId="LiveId" clId="{89FC2E44-86AF-4521-902E-CA8F8113BB76}" dt="2026-07-02T10:50:03.618" v="16" actId="2696"/>
        <pc:sldMasterMkLst>
          <pc:docMk/>
          <pc:sldMasterMk cId="4016842322" sldId="2147483753"/>
        </pc:sldMasterMkLst>
        <pc:sldLayoutChg chg="del">
          <pc:chgData name="Ann-Marie Carrey" userId="f9afc4aa67827740" providerId="LiveId" clId="{89FC2E44-86AF-4521-902E-CA8F8113BB76}" dt="2026-07-02T10:50:03.618" v="16" actId="2696"/>
          <pc:sldLayoutMkLst>
            <pc:docMk/>
            <pc:sldMasterMk cId="4016842322" sldId="2147483753"/>
            <pc:sldLayoutMk cId="2506003454" sldId="2147483794"/>
          </pc:sldLayoutMkLst>
        </pc:sldLayoutChg>
      </pc:sldMasterChg>
      <pc:sldMasterChg chg="del delSldLayout">
        <pc:chgData name="Ann-Marie Carrey" userId="f9afc4aa67827740" providerId="LiveId" clId="{89FC2E44-86AF-4521-902E-CA8F8113BB76}" dt="2026-07-02T10:48:09.581" v="10" actId="2696"/>
        <pc:sldMasterMkLst>
          <pc:docMk/>
          <pc:sldMasterMk cId="3836778975" sldId="2147483767"/>
        </pc:sldMasterMkLst>
        <pc:sldLayoutChg chg="del">
          <pc:chgData name="Ann-Marie Carrey" userId="f9afc4aa67827740" providerId="LiveId" clId="{89FC2E44-86AF-4521-902E-CA8F8113BB76}" dt="2026-07-02T10:48:09.581" v="10" actId="2696"/>
          <pc:sldLayoutMkLst>
            <pc:docMk/>
            <pc:sldMasterMk cId="3836778975" sldId="2147483767"/>
            <pc:sldLayoutMk cId="2107492769" sldId="2147483768"/>
          </pc:sldLayoutMkLst>
        </pc:sldLayoutChg>
        <pc:sldLayoutChg chg="del">
          <pc:chgData name="Ann-Marie Carrey" userId="f9afc4aa67827740" providerId="LiveId" clId="{89FC2E44-86AF-4521-902E-CA8F8113BB76}" dt="2026-07-02T10:48:09.581" v="10" actId="2696"/>
          <pc:sldLayoutMkLst>
            <pc:docMk/>
            <pc:sldMasterMk cId="3836778975" sldId="2147483767"/>
            <pc:sldLayoutMk cId="2942759884" sldId="2147483769"/>
          </pc:sldLayoutMkLst>
        </pc:sldLayoutChg>
        <pc:sldLayoutChg chg="del">
          <pc:chgData name="Ann-Marie Carrey" userId="f9afc4aa67827740" providerId="LiveId" clId="{89FC2E44-86AF-4521-902E-CA8F8113BB76}" dt="2026-07-02T10:48:09.581" v="10" actId="2696"/>
          <pc:sldLayoutMkLst>
            <pc:docMk/>
            <pc:sldMasterMk cId="3836778975" sldId="2147483767"/>
            <pc:sldLayoutMk cId="3609053022" sldId="2147483770"/>
          </pc:sldLayoutMkLst>
        </pc:sldLayoutChg>
        <pc:sldLayoutChg chg="del">
          <pc:chgData name="Ann-Marie Carrey" userId="f9afc4aa67827740" providerId="LiveId" clId="{89FC2E44-86AF-4521-902E-CA8F8113BB76}" dt="2026-07-02T10:48:09.581" v="10" actId="2696"/>
          <pc:sldLayoutMkLst>
            <pc:docMk/>
            <pc:sldMasterMk cId="3836778975" sldId="2147483767"/>
            <pc:sldLayoutMk cId="742663340" sldId="2147483771"/>
          </pc:sldLayoutMkLst>
        </pc:sldLayoutChg>
        <pc:sldLayoutChg chg="del">
          <pc:chgData name="Ann-Marie Carrey" userId="f9afc4aa67827740" providerId="LiveId" clId="{89FC2E44-86AF-4521-902E-CA8F8113BB76}" dt="2026-07-02T10:48:09.581" v="10" actId="2696"/>
          <pc:sldLayoutMkLst>
            <pc:docMk/>
            <pc:sldMasterMk cId="3836778975" sldId="2147483767"/>
            <pc:sldLayoutMk cId="3213708161" sldId="2147483772"/>
          </pc:sldLayoutMkLst>
        </pc:sldLayoutChg>
        <pc:sldLayoutChg chg="del">
          <pc:chgData name="Ann-Marie Carrey" userId="f9afc4aa67827740" providerId="LiveId" clId="{89FC2E44-86AF-4521-902E-CA8F8113BB76}" dt="2026-07-02T10:48:09.581" v="10" actId="2696"/>
          <pc:sldLayoutMkLst>
            <pc:docMk/>
            <pc:sldMasterMk cId="3836778975" sldId="2147483767"/>
            <pc:sldLayoutMk cId="2217810026" sldId="2147483773"/>
          </pc:sldLayoutMkLst>
        </pc:sldLayoutChg>
        <pc:sldLayoutChg chg="del">
          <pc:chgData name="Ann-Marie Carrey" userId="f9afc4aa67827740" providerId="LiveId" clId="{89FC2E44-86AF-4521-902E-CA8F8113BB76}" dt="2026-07-02T10:48:09.581" v="10" actId="2696"/>
          <pc:sldLayoutMkLst>
            <pc:docMk/>
            <pc:sldMasterMk cId="3836778975" sldId="2147483767"/>
            <pc:sldLayoutMk cId="3463665083" sldId="2147483774"/>
          </pc:sldLayoutMkLst>
        </pc:sldLayoutChg>
        <pc:sldLayoutChg chg="del">
          <pc:chgData name="Ann-Marie Carrey" userId="f9afc4aa67827740" providerId="LiveId" clId="{89FC2E44-86AF-4521-902E-CA8F8113BB76}" dt="2026-07-02T10:48:09.581" v="10" actId="2696"/>
          <pc:sldLayoutMkLst>
            <pc:docMk/>
            <pc:sldMasterMk cId="3836778975" sldId="2147483767"/>
            <pc:sldLayoutMk cId="3219651339" sldId="2147483775"/>
          </pc:sldLayoutMkLst>
        </pc:sldLayoutChg>
        <pc:sldLayoutChg chg="del">
          <pc:chgData name="Ann-Marie Carrey" userId="f9afc4aa67827740" providerId="LiveId" clId="{89FC2E44-86AF-4521-902E-CA8F8113BB76}" dt="2026-07-02T10:48:09.581" v="10" actId="2696"/>
          <pc:sldLayoutMkLst>
            <pc:docMk/>
            <pc:sldMasterMk cId="3836778975" sldId="2147483767"/>
            <pc:sldLayoutMk cId="1778730821" sldId="2147483776"/>
          </pc:sldLayoutMkLst>
        </pc:sldLayoutChg>
        <pc:sldLayoutChg chg="del">
          <pc:chgData name="Ann-Marie Carrey" userId="f9afc4aa67827740" providerId="LiveId" clId="{89FC2E44-86AF-4521-902E-CA8F8113BB76}" dt="2026-07-02T10:48:09.581" v="10" actId="2696"/>
          <pc:sldLayoutMkLst>
            <pc:docMk/>
            <pc:sldMasterMk cId="3836778975" sldId="2147483767"/>
            <pc:sldLayoutMk cId="2544572397" sldId="2147483777"/>
          </pc:sldLayoutMkLst>
        </pc:sldLayoutChg>
        <pc:sldLayoutChg chg="del">
          <pc:chgData name="Ann-Marie Carrey" userId="f9afc4aa67827740" providerId="LiveId" clId="{89FC2E44-86AF-4521-902E-CA8F8113BB76}" dt="2026-07-02T10:48:09.581" v="10" actId="2696"/>
          <pc:sldLayoutMkLst>
            <pc:docMk/>
            <pc:sldMasterMk cId="3836778975" sldId="2147483767"/>
            <pc:sldLayoutMk cId="2531121308" sldId="2147483778"/>
          </pc:sldLayoutMkLst>
        </pc:sldLayoutChg>
        <pc:sldLayoutChg chg="del">
          <pc:chgData name="Ann-Marie Carrey" userId="f9afc4aa67827740" providerId="LiveId" clId="{89FC2E44-86AF-4521-902E-CA8F8113BB76}" dt="2026-07-02T10:48:09.581" v="10" actId="2696"/>
          <pc:sldLayoutMkLst>
            <pc:docMk/>
            <pc:sldMasterMk cId="3836778975" sldId="2147483767"/>
            <pc:sldLayoutMk cId="3391555005" sldId="2147483779"/>
          </pc:sldLayoutMkLst>
        </pc:sldLayoutChg>
      </pc:sldMasterChg>
    </pc:docChg>
  </pc:docChgLst>
  <pc:docChgLst>
    <pc:chgData name="Ingrid Cruickshank" userId="5a5f459abdc2fb5c" providerId="LiveId" clId="{235A252F-ADF7-4EB3-AC49-03FD09E1C522}"/>
    <pc:docChg chg="undo custSel delSld delMainMaster modMainMaster addSection delSection modSection">
      <pc:chgData name="Ingrid Cruickshank" userId="5a5f459abdc2fb5c" providerId="LiveId" clId="{235A252F-ADF7-4EB3-AC49-03FD09E1C522}" dt="2026-06-30T12:00:27.582" v="95" actId="47"/>
      <pc:docMkLst>
        <pc:docMk/>
      </pc:docMkLst>
      <pc:sldMasterChg chg="modSldLayout sldLayoutOrd">
        <pc:chgData name="Ingrid Cruickshank" userId="5a5f459abdc2fb5c" providerId="LiveId" clId="{235A252F-ADF7-4EB3-AC49-03FD09E1C522}" dt="2026-06-30T11:08:19.421" v="4"/>
        <pc:sldMasterMkLst>
          <pc:docMk/>
          <pc:sldMasterMk cId="4016842322" sldId="2147483753"/>
        </pc:sldMasterMkLst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1008223097" sldId="2147483781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008223097" sldId="2147483781"/>
              <ac:spMk id="2" creationId="{17AAAFE5-F4A4-452F-410B-00F842559A5C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008223097" sldId="2147483781"/>
              <ac:spMk id="3" creationId="{FB082381-823E-96D7-FEA7-396A114D8237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008223097" sldId="2147483781"/>
              <ac:spMk id="21" creationId="{9DD1B175-E0B7-DC20-88D5-1C79E22E5B2C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970906848" sldId="2147483782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970906848" sldId="2147483782"/>
              <ac:spMk id="2" creationId="{1C049F3D-E633-0ACE-B2BB-A3AD21BEEE15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970906848" sldId="2147483782"/>
              <ac:spMk id="3" creationId="{B1B53522-6F54-224D-A46C-43BDB628E353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2310314513" sldId="2147483783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2310314513" sldId="2147483783"/>
              <ac:spMk id="2" creationId="{C8804E49-641E-FF54-5097-05FBBE91DF3F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2310314513" sldId="2147483783"/>
              <ac:spMk id="3" creationId="{35841687-EF2C-59E5-C217-463879C844FC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4293366294" sldId="2147483784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4293366294" sldId="2147483784"/>
              <ac:spMk id="2" creationId="{8A78CF30-E779-C483-A320-F5558596A5A9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4293366294" sldId="2147483784"/>
              <ac:spMk id="3" creationId="{53874C0A-7468-CB08-249C-DFA1D538B051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4293366294" sldId="2147483784"/>
              <ac:spMk id="4" creationId="{66864A62-5995-5383-6F3A-7E66D0D0F21D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1711763282" sldId="2147483785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711763282" sldId="2147483785"/>
              <ac:spMk id="2" creationId="{3C31442F-BA31-6775-04B7-C5BADCE4D372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711763282" sldId="2147483785"/>
              <ac:spMk id="3" creationId="{3BAC2287-38A4-A752-F3E8-931CDD0AB307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711763282" sldId="2147483785"/>
              <ac:spMk id="4" creationId="{35F2B376-AAE0-D1BD-1768-8F98681C30FF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711763282" sldId="2147483785"/>
              <ac:spMk id="5" creationId="{53DBD214-8418-12E3-F3DF-C0E00764BB4F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711763282" sldId="2147483785"/>
              <ac:spMk id="6" creationId="{3E677B34-8A0C-B735-0B20-FA76C9A5E659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673722925" sldId="2147483786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673722925" sldId="2147483786"/>
              <ac:spMk id="11" creationId="{DB0BA0F1-DFFD-80E2-DC45-EF5EDD180124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673722925" sldId="2147483786"/>
              <ac:spMk id="12" creationId="{1B683E75-4DB4-17DB-2052-835B3DB5B2A5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673722925" sldId="2147483786"/>
              <ac:spMk id="13" creationId="{65A73B61-CE51-EE7E-096D-54BFBB867DA2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673722925" sldId="2147483786"/>
              <ac:spMk id="14" creationId="{A44361D7-79E1-9D7B-F952-8638CE000E4A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673722925" sldId="2147483786"/>
              <ac:spMk id="15" creationId="{B1E8BB2F-FB4E-AA68-918D-027132703638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2839093043" sldId="2147483787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2839093043" sldId="2147483787"/>
              <ac:spMk id="12" creationId="{4CA0414E-B0E5-2546-910C-E13E6DB0F09D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1680846861" sldId="2147483788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680846861" sldId="2147483788"/>
              <ac:spMk id="9" creationId="{3C03BC15-4460-27E5-0D1D-49A07A1AF5A3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680846861" sldId="2147483788"/>
              <ac:spMk id="12" creationId="{4CA0414E-B0E5-2546-910C-E13E6DB0F09D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1784888879" sldId="2147483789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784888879" sldId="2147483789"/>
              <ac:spMk id="18" creationId="{3B0DFCF6-C03D-C7DE-194E-CD53DEC4D1F2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918988889" sldId="2147483790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918988889" sldId="2147483790"/>
              <ac:spMk id="4" creationId="{0E8EF2A6-E49C-5331-C9FF-E408AA569458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918988889" sldId="2147483790"/>
              <ac:spMk id="9" creationId="{FA4FDE35-96ED-495B-AF20-C2B7AC77B37F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918988889" sldId="2147483790"/>
              <ac:spMk id="14" creationId="{91AC1C48-A9DD-3F33-C399-1613FC59F888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1590537665" sldId="2147483791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590537665" sldId="2147483791"/>
              <ac:spMk id="3" creationId="{76425586-2A55-70A8-48EB-057D334BF519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590537665" sldId="2147483791"/>
              <ac:spMk id="4" creationId="{6008C3FC-B840-603C-AB3B-50C9A93C5C02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590537665" sldId="2147483791"/>
              <ac:spMk id="9" creationId="{29F6724A-6CA5-B1F1-8B33-03BE4576A7B4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1590537665" sldId="2147483791"/>
              <ac:spMk id="14" creationId="{B2019352-8E4A-1880-E888-383B43AEB198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4178102797" sldId="2147483792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4178102797" sldId="2147483792"/>
              <ac:spMk id="16" creationId="{563C873A-1056-9F7E-30E6-F6DA1516449F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4178102797" sldId="2147483792"/>
              <ac:spMk id="17" creationId="{9545BDC5-FE33-0AFF-0F56-03610258E8C6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866795588" sldId="2147483793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866795588" sldId="2147483793"/>
              <ac:spMk id="16" creationId="{563C873A-1056-9F7E-30E6-F6DA1516449F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866795588" sldId="2147483793"/>
              <ac:spMk id="17" creationId="{9545BDC5-FE33-0AFF-0F56-03610258E8C6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866795588" sldId="2147483793"/>
              <ac:spMk id="25" creationId="{11AAF19F-E669-36B5-2F2B-266E1A866AD9}"/>
            </ac:spMkLst>
          </pc:spChg>
        </pc:sldLayoutChg>
        <pc:sldLayoutChg chg="modSp mod ord">
          <pc:chgData name="Ingrid Cruickshank" userId="5a5f459abdc2fb5c" providerId="LiveId" clId="{235A252F-ADF7-4EB3-AC49-03FD09E1C522}" dt="2026-06-30T11:08:19.421" v="4"/>
          <pc:sldLayoutMkLst>
            <pc:docMk/>
            <pc:sldMasterMk cId="4016842322" sldId="2147483753"/>
            <pc:sldLayoutMk cId="2506003454" sldId="2147483794"/>
          </pc:sldLayoutMkLst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2506003454" sldId="2147483794"/>
              <ac:spMk id="2" creationId="{ADB3A534-42CF-7493-B77C-CEA3F9C972E0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2506003454" sldId="2147483794"/>
              <ac:spMk id="3" creationId="{A2B672E6-64B6-E75E-29FA-03F5058F024D}"/>
            </ac:spMkLst>
          </pc:spChg>
          <pc:spChg chg="mod">
            <ac:chgData name="Ingrid Cruickshank" userId="5a5f459abdc2fb5c" providerId="LiveId" clId="{235A252F-ADF7-4EB3-AC49-03FD09E1C522}" dt="2026-06-30T11:08:19.421" v="4"/>
            <ac:spMkLst>
              <pc:docMk/>
              <pc:sldMasterMk cId="4016842322" sldId="2147483753"/>
              <pc:sldLayoutMk cId="2506003454" sldId="2147483794"/>
              <ac:spMk id="4" creationId="{AF3F07F8-0A24-1D9C-8808-7CA6BFAF483A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F8E4AE-345A-44F9-876B-63B02C2E6453}" type="datetimeFigureOut">
              <a:rPr lang="en-GB" smtClean="0"/>
              <a:t>02/07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132931-A9A8-44EB-A315-FE64D2F6A7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88289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cpe.org.uk/national-pharmacy-services/advanced-services/hypertension-case-finding-service/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cpe.org.uk/national-pharmacy-services/advanced-services/pharmacy-contraception-service/" TargetMode="Externa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FD8D16-B04C-EF46-A5EF-57275144C7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0883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0CABD3-19A7-9D84-C844-B35F31C338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CC99D73-0F30-8F2B-5A66-575D2543E6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CBF2B3E-75D4-89C8-6FCF-A3218F6D31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02F740-F731-D0ED-3FB6-200A31E725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FD8D16-B04C-EF46-A5EF-57275144C7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34119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899379-13B0-456C-BAD7-1533FC3280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4D0594-287C-945A-2A5C-21D02F5688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F9088D-398F-9EBC-655F-DB5C4FFD90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576812-5A6C-B596-ACB6-2F5D46DE25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FD8D16-B04C-EF46-A5EF-57275144C7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93014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0A9887-A972-E132-93CE-0CE6D2C9A2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568F78-C746-576C-B628-61CD65800F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0E75F2-A134-31F1-BEC0-BDAC6C67A6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BB20C2-07A8-7737-EDC0-E80B38A39F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FD8D16-B04C-EF46-A5EF-57275144C7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51428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BA6018-EF17-F45B-B7C9-27699603A6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749370-0674-B921-28C8-DA7BFE71C8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731B01E-8A61-877C-4AF8-4F06C95547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Services</a:t>
            </a:r>
          </a:p>
          <a:p>
            <a:br>
              <a:rPr lang="en-GB"/>
            </a:br>
            <a:r>
              <a:rPr lang="en-GB"/>
              <a:t>Ear wax removal – remote?</a:t>
            </a:r>
          </a:p>
          <a:p>
            <a:endParaRPr lang="en-GB"/>
          </a:p>
          <a:p>
            <a:r>
              <a:rPr lang="en-GB"/>
              <a:t>Viewing our profession as clinicians</a:t>
            </a:r>
          </a:p>
          <a:p>
            <a:endParaRPr lang="en-GB"/>
          </a:p>
          <a:p>
            <a:r>
              <a:rPr lang="en-GB"/>
              <a:t>Skin </a:t>
            </a:r>
            <a:r>
              <a:rPr lang="en-GB" err="1"/>
              <a:t>crypotherapy</a:t>
            </a:r>
            <a:r>
              <a:rPr lang="en-GB"/>
              <a:t> - skin tags, warts</a:t>
            </a:r>
          </a:p>
          <a:p>
            <a:endParaRPr lang="en-GB"/>
          </a:p>
          <a:p>
            <a:r>
              <a:rPr lang="en-GB"/>
              <a:t>Contact GPs and other local service providers or community centres</a:t>
            </a:r>
          </a:p>
          <a:p>
            <a:r>
              <a:rPr lang="en-GB"/>
              <a:t>How are you going to make your patients aware of your services?</a:t>
            </a:r>
          </a:p>
          <a:p>
            <a:r>
              <a:rPr lang="en-GB"/>
              <a:t>Local Advertising</a:t>
            </a:r>
          </a:p>
          <a:p>
            <a:r>
              <a:rPr lang="en-GB"/>
              <a:t>Website</a:t>
            </a:r>
          </a:p>
          <a:p>
            <a:r>
              <a:rPr lang="en-GB"/>
              <a:t>Social Media – use your staff to advertise on their FB/Instagram</a:t>
            </a:r>
          </a:p>
          <a:p>
            <a:r>
              <a:rPr lang="en-GB"/>
              <a:t>Leaflets</a:t>
            </a:r>
          </a:p>
          <a:p>
            <a:r>
              <a:rPr lang="en-GB"/>
              <a:t>Staff word of mouth</a:t>
            </a:r>
          </a:p>
          <a:p>
            <a:r>
              <a:rPr lang="en-GB"/>
              <a:t>Staff social media</a:t>
            </a:r>
          </a:p>
          <a:p>
            <a:r>
              <a:rPr lang="en-GB"/>
              <a:t>GP surgery engagement - can you provide them with anything that lists your services – </a:t>
            </a:r>
            <a:r>
              <a:rPr lang="en-GB" err="1"/>
              <a:t>mousemats</a:t>
            </a:r>
            <a:r>
              <a:rPr lang="en-GB"/>
              <a:t> etc</a:t>
            </a:r>
          </a:p>
          <a:p>
            <a:endParaRPr lang="en-GB"/>
          </a:p>
          <a:p>
            <a:r>
              <a:rPr lang="en-GB"/>
              <a:t>Utilise IT and staff: </a:t>
            </a:r>
          </a:p>
          <a:p>
            <a:r>
              <a:rPr lang="en-GB"/>
              <a:t>PMR</a:t>
            </a:r>
          </a:p>
          <a:p>
            <a:endParaRPr lang="en-GB"/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>
                <a:solidFill>
                  <a:schemeClr val="tx1"/>
                </a:solidFill>
              </a:rPr>
              <a:t>M</a:t>
            </a:r>
            <a:r>
              <a:rPr lang="en-GB" b="1" err="1">
                <a:solidFill>
                  <a:schemeClr val="tx1"/>
                </a:solidFill>
                <a:effectLst/>
              </a:rPr>
              <a:t>ens</a:t>
            </a:r>
            <a:r>
              <a:rPr lang="en-GB" b="1">
                <a:solidFill>
                  <a:schemeClr val="tx1"/>
                </a:solidFill>
                <a:effectLst/>
              </a:rPr>
              <a:t> Health: </a:t>
            </a:r>
            <a:r>
              <a:rPr lang="en-GB">
                <a:solidFill>
                  <a:schemeClr val="tx1"/>
                </a:solidFill>
                <a:effectLst/>
              </a:rPr>
              <a:t>Hair Loss, Erectile Dysfunction, alcohol reduction, Back pain, Conjunctivitis, Haemorrhoids, Urinary Incontinence, Premature Ejaculation, Nausea and Sickness</a:t>
            </a:r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b="1">
                <a:solidFill>
                  <a:schemeClr val="tx1"/>
                </a:solidFill>
                <a:effectLst/>
              </a:rPr>
              <a:t>Women’s Health: </a:t>
            </a:r>
            <a:r>
              <a:rPr lang="en-GB">
                <a:solidFill>
                  <a:schemeClr val="tx1"/>
                </a:solidFill>
                <a:effectLst/>
              </a:rPr>
              <a:t>Period Delay, Alcohol reduction, facial hair removal, HPV Period Pain, Thrush, UTI treatment</a:t>
            </a: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endParaRPr lang="en-GB"/>
          </a:p>
          <a:p>
            <a:endParaRPr lang="en-GB"/>
          </a:p>
          <a:p>
            <a:r>
              <a:rPr lang="en-GB">
                <a:effectLst/>
                <a:latin typeface="Helvetica Neue" panose="02000503000000020004" pitchFamily="2" charset="0"/>
              </a:rPr>
              <a:t>Microneedling</a:t>
            </a:r>
          </a:p>
          <a:p>
            <a:r>
              <a:rPr lang="en-GB">
                <a:effectLst/>
                <a:latin typeface="Helvetica Neue" panose="02000503000000020004" pitchFamily="2" charset="0"/>
              </a:rPr>
              <a:t>Skin peeling</a:t>
            </a:r>
          </a:p>
          <a:p>
            <a:r>
              <a:rPr lang="en-GB">
                <a:effectLst/>
                <a:latin typeface="Helvetica Neue" panose="02000503000000020004" pitchFamily="2" charset="0"/>
              </a:rPr>
              <a:t>Iv drips </a:t>
            </a:r>
          </a:p>
          <a:p>
            <a:endParaRPr lang="en-GB"/>
          </a:p>
          <a:p>
            <a:endParaRPr lang="en-GB"/>
          </a:p>
          <a:p>
            <a:r>
              <a:rPr lang="en-US"/>
              <a:t>Ear </a:t>
            </a:r>
            <a:r>
              <a:rPr lang="en-US" err="1"/>
              <a:t>Microsuction</a:t>
            </a:r>
            <a:r>
              <a:rPr lang="en-US"/>
              <a:t> (£25, £45, £65)</a:t>
            </a:r>
          </a:p>
          <a:p>
            <a:r>
              <a:rPr lang="en-US"/>
              <a:t>Travel Clinic</a:t>
            </a:r>
          </a:p>
          <a:p>
            <a:r>
              <a:rPr lang="en-US"/>
              <a:t>Private Covid Vaccines</a:t>
            </a:r>
          </a:p>
          <a:p>
            <a:r>
              <a:rPr lang="en-US"/>
              <a:t>Weight Loss Clinic</a:t>
            </a:r>
          </a:p>
          <a:p>
            <a:r>
              <a:rPr lang="en-US"/>
              <a:t>Chicken Pox Vaccinations</a:t>
            </a:r>
          </a:p>
          <a:p>
            <a:r>
              <a:rPr lang="en-US"/>
              <a:t>Other services being considered</a:t>
            </a:r>
          </a:p>
          <a:p>
            <a:r>
              <a:rPr lang="en-US"/>
              <a:t>Using a digital clinical management system</a:t>
            </a:r>
          </a:p>
          <a:p>
            <a:endParaRPr lang="en-US"/>
          </a:p>
          <a:p>
            <a:r>
              <a:rPr lang="en-US"/>
              <a:t>Period Delay – £20-£27 depending on days needed</a:t>
            </a:r>
          </a:p>
          <a:p>
            <a:r>
              <a:rPr lang="en-US"/>
              <a:t>Cost is approx. £5-£6</a:t>
            </a:r>
          </a:p>
          <a:p>
            <a:endParaRPr lang="en-US"/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3AB6AA-E02A-64B7-C2EB-CB92239212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FD8D16-B04C-EF46-A5EF-57275144C7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71597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19A814-98EF-30BF-F68B-D04FC0C226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77B8BBD-B09D-FCC0-93C4-E6B33B35F2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828829-D64E-9278-BECF-15A2F5D109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eam are already trained as vaccinators – what is stopping you delivering private vaccinations?</a:t>
            </a:r>
          </a:p>
          <a:p>
            <a:endParaRPr lang="en-US"/>
          </a:p>
          <a:p>
            <a:r>
              <a:rPr lang="en-US"/>
              <a:t>Age of covid vaccination eligibility has increased – opportunity</a:t>
            </a:r>
          </a:p>
          <a:p>
            <a:endParaRPr lang="en-US"/>
          </a:p>
          <a:p>
            <a:r>
              <a:rPr lang="en-US"/>
              <a:t>Number of Covid Vaccinations in 6 months: </a:t>
            </a:r>
            <a:r>
              <a:rPr lang="en-US" u="sng"/>
              <a:t>520 completed (</a:t>
            </a:r>
            <a:r>
              <a:rPr lang="en-US" u="sng" err="1"/>
              <a:t>inc</a:t>
            </a:r>
            <a:r>
              <a:rPr lang="en-US" u="sng"/>
              <a:t> 179 referrals)</a:t>
            </a:r>
          </a:p>
          <a:p>
            <a:pPr marL="0" indent="0">
              <a:buNone/>
            </a:pPr>
            <a:r>
              <a:rPr lang="en-US"/>
              <a:t>		</a:t>
            </a:r>
            <a:r>
              <a:rPr lang="en-US">
                <a:solidFill>
                  <a:srgbClr val="00B050"/>
                </a:solidFill>
              </a:rPr>
              <a:t>Generated revenue: £44,200</a:t>
            </a:r>
          </a:p>
          <a:p>
            <a:pPr marL="1828800" lvl="4" indent="0">
              <a:buNone/>
            </a:pPr>
            <a:r>
              <a:rPr lang="en-US">
                <a:solidFill>
                  <a:srgbClr val="00B050"/>
                </a:solidFill>
              </a:rPr>
              <a:t>£85 per patient</a:t>
            </a:r>
          </a:p>
          <a:p>
            <a:endParaRPr lang="en-US"/>
          </a:p>
          <a:p>
            <a:r>
              <a:rPr lang="en-US">
                <a:solidFill>
                  <a:srgbClr val="00B050"/>
                </a:solidFill>
              </a:rPr>
              <a:t>Profit</a:t>
            </a:r>
            <a:r>
              <a:rPr lang="en-US"/>
              <a:t>: In </a:t>
            </a:r>
            <a:r>
              <a:rPr lang="en-US" u="sng"/>
              <a:t>6 months</a:t>
            </a:r>
            <a:r>
              <a:rPr lang="en-US"/>
              <a:t> across 4 pharmacies (</a:t>
            </a:r>
            <a:r>
              <a:rPr lang="en-US" err="1"/>
              <a:t>PharmaDoctor</a:t>
            </a:r>
            <a:r>
              <a:rPr lang="en-US"/>
              <a:t> data)</a:t>
            </a:r>
          </a:p>
          <a:p>
            <a:pPr marL="457200" lvl="1" indent="0">
              <a:buNone/>
            </a:pPr>
            <a:r>
              <a:rPr lang="en-US">
                <a:highlight>
                  <a:srgbClr val="ECF0F2"/>
                </a:highlight>
              </a:rPr>
              <a:t>	 once costs deducted	     </a:t>
            </a:r>
            <a:r>
              <a:rPr lang="en-US">
                <a:highlight>
                  <a:srgbClr val="00FF00"/>
                </a:highlight>
              </a:rPr>
              <a:t>£13,000.00</a:t>
            </a:r>
          </a:p>
          <a:p>
            <a:pPr marL="457200" lvl="1" indent="0">
              <a:buNone/>
            </a:pPr>
            <a:r>
              <a:rPr lang="en-US" sz="1600">
                <a:highlight>
                  <a:srgbClr val="ECF0F2"/>
                </a:highlight>
              </a:rPr>
              <a:t>		</a:t>
            </a:r>
            <a:r>
              <a:rPr lang="en-US" sz="1600"/>
              <a:t>(and most of those will also have a </a:t>
            </a:r>
            <a:r>
              <a:rPr lang="en-US" sz="1600" u="sng"/>
              <a:t>flu jab</a:t>
            </a:r>
            <a:r>
              <a:rPr lang="en-US" sz="1600"/>
              <a:t>!)</a:t>
            </a:r>
          </a:p>
          <a:p>
            <a:pPr marL="457200" lvl="1" indent="0">
              <a:buNone/>
            </a:pPr>
            <a:endParaRPr lang="en-US" sz="1600"/>
          </a:p>
          <a:p>
            <a:pPr marL="457200" lvl="1" indent="0">
              <a:buNone/>
            </a:pPr>
            <a:endParaRPr lang="en-US" sz="1600"/>
          </a:p>
          <a:p>
            <a:r>
              <a:rPr lang="en-US"/>
              <a:t>Number of Chickenpox Vaccinations in 6 months: </a:t>
            </a:r>
            <a:r>
              <a:rPr lang="en-US" u="sng"/>
              <a:t>126 completed (63 patients)</a:t>
            </a:r>
          </a:p>
          <a:p>
            <a:pPr marL="0" indent="0">
              <a:buNone/>
            </a:pPr>
            <a:r>
              <a:rPr lang="en-US"/>
              <a:t>		</a:t>
            </a:r>
            <a:r>
              <a:rPr lang="en-US">
                <a:solidFill>
                  <a:srgbClr val="00B050"/>
                </a:solidFill>
              </a:rPr>
              <a:t>Generated revenue: £10,080.00</a:t>
            </a:r>
          </a:p>
          <a:p>
            <a:pPr marL="1828800" lvl="4" indent="0">
              <a:buNone/>
            </a:pPr>
            <a:r>
              <a:rPr lang="en-US">
                <a:solidFill>
                  <a:srgbClr val="00B050"/>
                </a:solidFill>
              </a:rPr>
              <a:t>£80 per patient</a:t>
            </a:r>
          </a:p>
          <a:p>
            <a:endParaRPr lang="en-US"/>
          </a:p>
          <a:p>
            <a:r>
              <a:rPr lang="en-US">
                <a:solidFill>
                  <a:srgbClr val="00B050"/>
                </a:solidFill>
              </a:rPr>
              <a:t>Profit</a:t>
            </a:r>
            <a:r>
              <a:rPr lang="en-US"/>
              <a:t>: In 10 months across 3 pharmacies (</a:t>
            </a:r>
            <a:r>
              <a:rPr lang="en-US" err="1"/>
              <a:t>PharmaDoctor</a:t>
            </a:r>
            <a:r>
              <a:rPr lang="en-US"/>
              <a:t> data)</a:t>
            </a:r>
          </a:p>
          <a:p>
            <a:pPr marL="457200" lvl="1" indent="0">
              <a:buNone/>
            </a:pPr>
            <a:r>
              <a:rPr lang="en-US">
                <a:highlight>
                  <a:srgbClr val="ECF0F2"/>
                </a:highlight>
              </a:rPr>
              <a:t>	 once costs deducted	     </a:t>
            </a:r>
            <a:r>
              <a:rPr lang="en-US">
                <a:highlight>
                  <a:srgbClr val="00FF00"/>
                </a:highlight>
              </a:rPr>
              <a:t>£6,300</a:t>
            </a:r>
          </a:p>
          <a:p>
            <a:pPr marL="457200" lvl="1" indent="0">
              <a:buNone/>
            </a:pPr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0C0C6B-242D-2FEB-DC40-E1B86F37DDF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E915B7-125F-49D8-B072-C7485BA9A97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21226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Local business and Travel agents</a:t>
            </a:r>
          </a:p>
          <a:p>
            <a:r>
              <a:rPr lang="en-US"/>
              <a:t>GPs</a:t>
            </a:r>
          </a:p>
          <a:p>
            <a:r>
              <a:rPr lang="en-US"/>
              <a:t>Telephone consultation in advance – link selling: </a:t>
            </a:r>
            <a:r>
              <a:rPr lang="en-US" err="1"/>
              <a:t>antisickness</a:t>
            </a:r>
            <a:r>
              <a:rPr lang="en-US"/>
              <a:t> medication, </a:t>
            </a:r>
            <a:r>
              <a:rPr lang="en-US" err="1"/>
              <a:t>travellers</a:t>
            </a:r>
            <a:r>
              <a:rPr lang="en-US"/>
              <a:t> </a:t>
            </a:r>
            <a:r>
              <a:rPr lang="en-US" err="1"/>
              <a:t>diarrhoa</a:t>
            </a:r>
            <a:r>
              <a:rPr lang="en-US"/>
              <a:t> </a:t>
            </a:r>
            <a:r>
              <a:rPr lang="en-US" err="1"/>
              <a:t>medicaiton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E915B7-125F-49D8-B072-C7485BA9A97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57292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E915B7-125F-49D8-B072-C7485BA9A97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686721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8-10 patients per week</a:t>
            </a:r>
          </a:p>
          <a:p>
            <a:endParaRPr lang="en-US"/>
          </a:p>
          <a:p>
            <a:r>
              <a:rPr lang="en-US"/>
              <a:t>Use Olive oil ear drops in advance </a:t>
            </a:r>
          </a:p>
          <a:p>
            <a:r>
              <a:rPr lang="en-US"/>
              <a:t>Repeat business</a:t>
            </a:r>
          </a:p>
          <a:p>
            <a:r>
              <a:rPr lang="en-US"/>
              <a:t>Explain, show videos and photos, referral service for second opinion</a:t>
            </a:r>
          </a:p>
          <a:p>
            <a:r>
              <a:rPr lang="en-US"/>
              <a:t>Show ear</a:t>
            </a:r>
          </a:p>
          <a:p>
            <a:endParaRPr lang="en-US"/>
          </a:p>
          <a:p>
            <a:endParaRPr lang="en-US"/>
          </a:p>
          <a:p>
            <a:r>
              <a:rPr lang="en-US"/>
              <a:t>Contact audiologists</a:t>
            </a:r>
          </a:p>
          <a:p>
            <a:endParaRPr lang="en-US"/>
          </a:p>
          <a:p>
            <a:r>
              <a:rPr lang="en-US"/>
              <a:t>Remote ear wax remov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E915B7-125F-49D8-B072-C7485BA9A97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522499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Link to Hypertension case finding service and ABP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E915B7-125F-49D8-B072-C7485BA9A97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506493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0ECEBF-5828-44BD-A4D2-F7A14A450B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D622D6-10F2-D421-12C1-7FAC7BC853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95BE17-DF32-119A-7140-32EA182505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Services</a:t>
            </a:r>
          </a:p>
          <a:p>
            <a:endParaRPr lang="en-GB"/>
          </a:p>
          <a:p>
            <a:r>
              <a:rPr lang="en-GB"/>
              <a:t>Viewing our profession as clinicians</a:t>
            </a:r>
          </a:p>
          <a:p>
            <a:endParaRPr lang="en-GB"/>
          </a:p>
          <a:p>
            <a:r>
              <a:rPr lang="en-GB"/>
              <a:t>Skin </a:t>
            </a:r>
            <a:r>
              <a:rPr lang="en-GB" err="1"/>
              <a:t>crypotherapy</a:t>
            </a:r>
            <a:r>
              <a:rPr lang="en-GB"/>
              <a:t> - skin tags, warts</a:t>
            </a:r>
          </a:p>
          <a:p>
            <a:endParaRPr lang="en-GB"/>
          </a:p>
          <a:p>
            <a:r>
              <a:rPr lang="en-GB"/>
              <a:t>Contact GPs and other local service providers or community centres</a:t>
            </a:r>
          </a:p>
          <a:p>
            <a:r>
              <a:rPr lang="en-GB"/>
              <a:t>How are you going to make your patients aware of your services?</a:t>
            </a:r>
          </a:p>
          <a:p>
            <a:r>
              <a:rPr lang="en-GB"/>
              <a:t>Local Advertising</a:t>
            </a:r>
          </a:p>
          <a:p>
            <a:r>
              <a:rPr lang="en-GB"/>
              <a:t>Website</a:t>
            </a:r>
          </a:p>
          <a:p>
            <a:r>
              <a:rPr lang="en-GB"/>
              <a:t>Social Media – use your staff to advertise on their FB/Instagram</a:t>
            </a:r>
          </a:p>
          <a:p>
            <a:r>
              <a:rPr lang="en-GB"/>
              <a:t>Leaflets</a:t>
            </a:r>
          </a:p>
          <a:p>
            <a:r>
              <a:rPr lang="en-GB"/>
              <a:t>Staff word of mouth</a:t>
            </a:r>
          </a:p>
          <a:p>
            <a:r>
              <a:rPr lang="en-GB"/>
              <a:t>Staff social media</a:t>
            </a:r>
          </a:p>
          <a:p>
            <a:r>
              <a:rPr lang="en-GB"/>
              <a:t>GP surgery engagement - can you provide them with anything that lists your services – </a:t>
            </a:r>
            <a:r>
              <a:rPr lang="en-GB" err="1"/>
              <a:t>mousemats</a:t>
            </a:r>
            <a:r>
              <a:rPr lang="en-GB"/>
              <a:t> etc</a:t>
            </a:r>
          </a:p>
          <a:p>
            <a:endParaRPr lang="en-GB"/>
          </a:p>
          <a:p>
            <a:r>
              <a:rPr lang="en-GB"/>
              <a:t>Utilise IT and staff: </a:t>
            </a:r>
          </a:p>
          <a:p>
            <a:r>
              <a:rPr lang="en-GB"/>
              <a:t>PMR</a:t>
            </a:r>
          </a:p>
          <a:p>
            <a:endParaRPr lang="en-GB"/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>
                <a:solidFill>
                  <a:schemeClr val="tx1"/>
                </a:solidFill>
              </a:rPr>
              <a:t>M</a:t>
            </a:r>
            <a:r>
              <a:rPr lang="en-GB" b="1" err="1">
                <a:solidFill>
                  <a:schemeClr val="tx1"/>
                </a:solidFill>
                <a:effectLst/>
              </a:rPr>
              <a:t>ens</a:t>
            </a:r>
            <a:r>
              <a:rPr lang="en-GB" b="1">
                <a:solidFill>
                  <a:schemeClr val="tx1"/>
                </a:solidFill>
                <a:effectLst/>
              </a:rPr>
              <a:t> Health: </a:t>
            </a:r>
            <a:r>
              <a:rPr lang="en-GB">
                <a:solidFill>
                  <a:schemeClr val="tx1"/>
                </a:solidFill>
                <a:effectLst/>
              </a:rPr>
              <a:t>Hair Loss, Erectile Dysfunction, alcohol reduction, Back pain, Conjunctivitis, Haemorrhoids, Urinary Incontinence, Premature Ejaculation, Nausea and Sickness</a:t>
            </a:r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b="1">
                <a:solidFill>
                  <a:schemeClr val="tx1"/>
                </a:solidFill>
                <a:effectLst/>
              </a:rPr>
              <a:t>Women’s Health: </a:t>
            </a:r>
            <a:r>
              <a:rPr lang="en-GB">
                <a:solidFill>
                  <a:schemeClr val="tx1"/>
                </a:solidFill>
                <a:effectLst/>
              </a:rPr>
              <a:t>Period Delay, Alcohol reduction, facial hair removal, HPV Period Pain, Thrush, UTI treatment</a:t>
            </a: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endParaRPr lang="en-GB"/>
          </a:p>
          <a:p>
            <a:endParaRPr lang="en-GB"/>
          </a:p>
          <a:p>
            <a:r>
              <a:rPr lang="en-GB">
                <a:effectLst/>
                <a:latin typeface="Helvetica Neue" panose="02000503000000020004" pitchFamily="2" charset="0"/>
              </a:rPr>
              <a:t>Microneedling</a:t>
            </a:r>
          </a:p>
          <a:p>
            <a:r>
              <a:rPr lang="en-GB">
                <a:effectLst/>
                <a:latin typeface="Helvetica Neue" panose="02000503000000020004" pitchFamily="2" charset="0"/>
              </a:rPr>
              <a:t>Skin peeling</a:t>
            </a:r>
          </a:p>
          <a:p>
            <a:r>
              <a:rPr lang="en-GB">
                <a:effectLst/>
                <a:latin typeface="Helvetica Neue" panose="02000503000000020004" pitchFamily="2" charset="0"/>
              </a:rPr>
              <a:t>Iv drips </a:t>
            </a:r>
          </a:p>
          <a:p>
            <a:endParaRPr lang="en-GB"/>
          </a:p>
          <a:p>
            <a:endParaRPr lang="en-US"/>
          </a:p>
          <a:p>
            <a:r>
              <a:rPr lang="en-US"/>
              <a:t>Period Delay – £20-£27 depending on days needed</a:t>
            </a:r>
          </a:p>
          <a:p>
            <a:r>
              <a:rPr lang="en-US"/>
              <a:t>Cost is approx. £5-£6</a:t>
            </a:r>
          </a:p>
          <a:p>
            <a:endParaRPr lang="en-US"/>
          </a:p>
          <a:p>
            <a:endParaRPr lang="en-US"/>
          </a:p>
          <a:p>
            <a:r>
              <a:rPr lang="en-US"/>
              <a:t>Allergy Clinic</a:t>
            </a:r>
          </a:p>
          <a:p>
            <a:pPr lvl="1"/>
            <a:r>
              <a:rPr lang="en-US" sz="1600"/>
              <a:t>In particular during </a:t>
            </a:r>
            <a:r>
              <a:rPr lang="en-US" sz="1600" err="1"/>
              <a:t>hayfever</a:t>
            </a:r>
            <a:r>
              <a:rPr lang="en-US" sz="1600"/>
              <a:t> season</a:t>
            </a:r>
          </a:p>
          <a:p>
            <a:pPr lvl="1"/>
            <a:r>
              <a:rPr lang="en-US" sz="1600"/>
              <a:t>Review of allergy profile</a:t>
            </a:r>
          </a:p>
          <a:p>
            <a:pPr lvl="1"/>
            <a:r>
              <a:rPr lang="en-US" sz="1600"/>
              <a:t>Pharmacist led and need an IP can prescribe if required (or use PGDs)</a:t>
            </a:r>
          </a:p>
          <a:p>
            <a:pPr lvl="1"/>
            <a:endParaRPr lang="en-US" sz="1600"/>
          </a:p>
          <a:p>
            <a:r>
              <a:rPr lang="en-US"/>
              <a:t>Phlebotomy</a:t>
            </a:r>
          </a:p>
          <a:p>
            <a:pPr lvl="1"/>
            <a:r>
              <a:rPr lang="en-US" sz="1600"/>
              <a:t>Partnered with Nationwide lab (training required)</a:t>
            </a:r>
          </a:p>
          <a:p>
            <a:pPr lvl="1"/>
            <a:r>
              <a:rPr lang="en-US" sz="1600"/>
              <a:t>Charged at the end of the month the agreed fee per service by the lab</a:t>
            </a:r>
          </a:p>
          <a:p>
            <a:pPr lvl="2"/>
            <a:r>
              <a:rPr lang="en-US" sz="1600"/>
              <a:t>Pharmacy charges £40 for a blood draw</a:t>
            </a:r>
          </a:p>
          <a:p>
            <a:pPr lvl="2"/>
            <a:r>
              <a:rPr lang="en-US" sz="1600"/>
              <a:t>Pharmacy charges £60 for Hepatitis B tests</a:t>
            </a:r>
          </a:p>
          <a:p>
            <a:pPr lvl="1"/>
            <a:r>
              <a:rPr lang="en-US" sz="1600"/>
              <a:t>Once trained, it takes 10 minutes with the patient</a:t>
            </a:r>
          </a:p>
          <a:p>
            <a:pPr lvl="1"/>
            <a:endParaRPr lang="en-US" sz="1600"/>
          </a:p>
          <a:p>
            <a:pPr lvl="1"/>
            <a:endParaRPr lang="en-US" sz="1600"/>
          </a:p>
          <a:p>
            <a:r>
              <a:rPr lang="en-US"/>
              <a:t>Menopause Clinic</a:t>
            </a:r>
          </a:p>
          <a:p>
            <a:pPr lvl="1"/>
            <a:r>
              <a:rPr lang="en-US" sz="1600"/>
              <a:t>Set up to offer women a private consultation to discuss their health needs</a:t>
            </a:r>
          </a:p>
          <a:p>
            <a:pPr lvl="1"/>
            <a:r>
              <a:rPr lang="en-US" sz="1600"/>
              <a:t>1 hour appointment to allow enough time for a full past medical history to be taken</a:t>
            </a:r>
          </a:p>
          <a:p>
            <a:pPr lvl="1"/>
            <a:r>
              <a:rPr lang="en-US" sz="1600"/>
              <a:t>Requires an IP with experience in women’s health</a:t>
            </a:r>
          </a:p>
          <a:p>
            <a:pPr marL="457200" lvl="1" indent="0">
              <a:buNone/>
            </a:pPr>
            <a:endParaRPr lang="en-US" sz="1600"/>
          </a:p>
          <a:p>
            <a:r>
              <a:rPr lang="en-US"/>
              <a:t>Dermatology Clinic</a:t>
            </a:r>
          </a:p>
          <a:p>
            <a:pPr lvl="1"/>
            <a:r>
              <a:rPr lang="en-US" sz="1600"/>
              <a:t>30 minutes appointment to look at any skin condition </a:t>
            </a:r>
          </a:p>
          <a:p>
            <a:pPr lvl="1"/>
            <a:r>
              <a:rPr lang="en-US" sz="1600"/>
              <a:t>Often involves a discussion about emollients (OTC)</a:t>
            </a:r>
          </a:p>
          <a:p>
            <a:pPr lvl="1"/>
            <a:r>
              <a:rPr lang="en-US" sz="1600"/>
              <a:t>Which can be with a member of the pharmacy team, but uses IP for prescription items</a:t>
            </a:r>
          </a:p>
          <a:p>
            <a:pPr lvl="1"/>
            <a:endParaRPr lang="en-US"/>
          </a:p>
          <a:p>
            <a:endParaRPr lang="en-US"/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8C3FD3-5647-0FB5-D29A-30B3D7A2BE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FD8D16-B04C-EF46-A5EF-57275144C7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09745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D6BD3F-6D33-420D-BFC6-D6C2501E53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948921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4ECAAF-D484-F05F-B599-D40C53F84A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084977-E207-E9BA-B27C-3CBB0EF8A3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733FC5-2EF3-CC5D-86BF-807E1926F9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Services</a:t>
            </a:r>
          </a:p>
          <a:p>
            <a:endParaRPr lang="en-GB"/>
          </a:p>
          <a:p>
            <a:r>
              <a:rPr lang="en-GB"/>
              <a:t>Viewing our profession as clinicians</a:t>
            </a:r>
          </a:p>
          <a:p>
            <a:endParaRPr lang="en-GB"/>
          </a:p>
          <a:p>
            <a:r>
              <a:rPr lang="en-GB"/>
              <a:t>Skin </a:t>
            </a:r>
            <a:r>
              <a:rPr lang="en-GB" err="1"/>
              <a:t>crypotherapy</a:t>
            </a:r>
            <a:r>
              <a:rPr lang="en-GB"/>
              <a:t> - skin tags, warts</a:t>
            </a:r>
          </a:p>
          <a:p>
            <a:endParaRPr lang="en-GB"/>
          </a:p>
          <a:p>
            <a:r>
              <a:rPr lang="en-GB"/>
              <a:t>Contact GPs and other local service providers or community centres</a:t>
            </a:r>
          </a:p>
          <a:p>
            <a:r>
              <a:rPr lang="en-GB"/>
              <a:t>How are you going to make your patients aware of your services?</a:t>
            </a:r>
          </a:p>
          <a:p>
            <a:r>
              <a:rPr lang="en-GB"/>
              <a:t>Local Advertising</a:t>
            </a:r>
          </a:p>
          <a:p>
            <a:r>
              <a:rPr lang="en-GB"/>
              <a:t>Website</a:t>
            </a:r>
          </a:p>
          <a:p>
            <a:r>
              <a:rPr lang="en-GB"/>
              <a:t>Social Media – use your staff to advertise on their FB/Instagram</a:t>
            </a:r>
          </a:p>
          <a:p>
            <a:r>
              <a:rPr lang="en-GB"/>
              <a:t>Leaflets</a:t>
            </a:r>
          </a:p>
          <a:p>
            <a:r>
              <a:rPr lang="en-GB"/>
              <a:t>Staff word of mouth</a:t>
            </a:r>
          </a:p>
          <a:p>
            <a:r>
              <a:rPr lang="en-GB"/>
              <a:t>Staff social media</a:t>
            </a:r>
          </a:p>
          <a:p>
            <a:r>
              <a:rPr lang="en-GB"/>
              <a:t>GP surgery engagement - can you provide them with anything that lists your services – </a:t>
            </a:r>
            <a:r>
              <a:rPr lang="en-GB" err="1"/>
              <a:t>mousemats</a:t>
            </a:r>
            <a:r>
              <a:rPr lang="en-GB"/>
              <a:t> etc</a:t>
            </a:r>
          </a:p>
          <a:p>
            <a:endParaRPr lang="en-GB"/>
          </a:p>
          <a:p>
            <a:r>
              <a:rPr lang="en-GB"/>
              <a:t>Utilise IT and staff: </a:t>
            </a:r>
          </a:p>
          <a:p>
            <a:r>
              <a:rPr lang="en-GB"/>
              <a:t>PMR</a:t>
            </a:r>
          </a:p>
          <a:p>
            <a:endParaRPr lang="en-GB"/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>
                <a:solidFill>
                  <a:schemeClr val="tx1"/>
                </a:solidFill>
              </a:rPr>
              <a:t>M</a:t>
            </a:r>
            <a:r>
              <a:rPr lang="en-GB" b="1" err="1">
                <a:solidFill>
                  <a:schemeClr val="tx1"/>
                </a:solidFill>
                <a:effectLst/>
              </a:rPr>
              <a:t>ens</a:t>
            </a:r>
            <a:r>
              <a:rPr lang="en-GB" b="1">
                <a:solidFill>
                  <a:schemeClr val="tx1"/>
                </a:solidFill>
                <a:effectLst/>
              </a:rPr>
              <a:t> Health: </a:t>
            </a:r>
            <a:r>
              <a:rPr lang="en-GB">
                <a:solidFill>
                  <a:schemeClr val="tx1"/>
                </a:solidFill>
                <a:effectLst/>
              </a:rPr>
              <a:t>Hair Loss, Erectile Dysfunction, alcohol reduction, Back pain, Conjunctivitis, Haemorrhoids, Urinary Incontinence, Premature Ejaculation, Nausea and Sickness</a:t>
            </a:r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b="1">
                <a:solidFill>
                  <a:schemeClr val="tx1"/>
                </a:solidFill>
                <a:effectLst/>
              </a:rPr>
              <a:t>Women’s Health: </a:t>
            </a:r>
            <a:r>
              <a:rPr lang="en-GB">
                <a:solidFill>
                  <a:schemeClr val="tx1"/>
                </a:solidFill>
                <a:effectLst/>
              </a:rPr>
              <a:t>Period Delay, Alcohol reduction, facial hair removal, HPV Period Pain, Thrush, UTI treatment</a:t>
            </a: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endParaRPr lang="en-GB"/>
          </a:p>
          <a:p>
            <a:endParaRPr lang="en-GB"/>
          </a:p>
          <a:p>
            <a:r>
              <a:rPr lang="en-GB">
                <a:effectLst/>
                <a:latin typeface="Helvetica Neue" panose="02000503000000020004" pitchFamily="2" charset="0"/>
              </a:rPr>
              <a:t>Microneedling</a:t>
            </a:r>
          </a:p>
          <a:p>
            <a:r>
              <a:rPr lang="en-GB">
                <a:effectLst/>
                <a:latin typeface="Helvetica Neue" panose="02000503000000020004" pitchFamily="2" charset="0"/>
              </a:rPr>
              <a:t>Skin peeling</a:t>
            </a:r>
          </a:p>
          <a:p>
            <a:r>
              <a:rPr lang="en-GB">
                <a:effectLst/>
                <a:latin typeface="Helvetica Neue" panose="02000503000000020004" pitchFamily="2" charset="0"/>
              </a:rPr>
              <a:t>Iv drips </a:t>
            </a:r>
          </a:p>
          <a:p>
            <a:endParaRPr lang="en-GB"/>
          </a:p>
          <a:p>
            <a:endParaRPr lang="en-US"/>
          </a:p>
          <a:p>
            <a:r>
              <a:rPr lang="en-US"/>
              <a:t>Period Delay – £20-£27 depending on days needed</a:t>
            </a:r>
          </a:p>
          <a:p>
            <a:r>
              <a:rPr lang="en-US"/>
              <a:t>Cost is approx. £5-£6</a:t>
            </a:r>
          </a:p>
          <a:p>
            <a:endParaRPr lang="en-US"/>
          </a:p>
          <a:p>
            <a:endParaRPr lang="en-US"/>
          </a:p>
          <a:p>
            <a:r>
              <a:rPr lang="en-US"/>
              <a:t>Allergy Clinic</a:t>
            </a:r>
          </a:p>
          <a:p>
            <a:pPr lvl="1"/>
            <a:r>
              <a:rPr lang="en-US" sz="1600"/>
              <a:t>In particular during </a:t>
            </a:r>
            <a:r>
              <a:rPr lang="en-US" sz="1600" err="1"/>
              <a:t>hayfever</a:t>
            </a:r>
            <a:r>
              <a:rPr lang="en-US" sz="1600"/>
              <a:t> season</a:t>
            </a:r>
          </a:p>
          <a:p>
            <a:pPr lvl="1"/>
            <a:r>
              <a:rPr lang="en-US" sz="1600"/>
              <a:t>Review of allergy profile</a:t>
            </a:r>
          </a:p>
          <a:p>
            <a:pPr lvl="1"/>
            <a:r>
              <a:rPr lang="en-US" sz="1600"/>
              <a:t>Pharmacist led and need an IP can prescribe if required (or use PGDs)</a:t>
            </a:r>
          </a:p>
          <a:p>
            <a:pPr lvl="1"/>
            <a:endParaRPr lang="en-US" sz="1600"/>
          </a:p>
          <a:p>
            <a:r>
              <a:rPr lang="en-US"/>
              <a:t>Phlebotomy</a:t>
            </a:r>
          </a:p>
          <a:p>
            <a:pPr lvl="1"/>
            <a:r>
              <a:rPr lang="en-US" sz="1600"/>
              <a:t>Partnered with Nationwide lab (training required)</a:t>
            </a:r>
          </a:p>
          <a:p>
            <a:pPr lvl="1"/>
            <a:r>
              <a:rPr lang="en-US" sz="1600"/>
              <a:t>Charged at the end of the month the agreed fee per service by the lab</a:t>
            </a:r>
          </a:p>
          <a:p>
            <a:pPr lvl="2"/>
            <a:r>
              <a:rPr lang="en-US" sz="1600"/>
              <a:t>Pharmacy charges £40 for a blood draw</a:t>
            </a:r>
          </a:p>
          <a:p>
            <a:pPr lvl="2"/>
            <a:r>
              <a:rPr lang="en-US" sz="1600"/>
              <a:t>Pharmacy charges £60 for Hepatitis B tests</a:t>
            </a:r>
          </a:p>
          <a:p>
            <a:pPr lvl="1"/>
            <a:r>
              <a:rPr lang="en-US" sz="1600"/>
              <a:t>Once trained, it takes 10 minutes with the patient</a:t>
            </a:r>
          </a:p>
          <a:p>
            <a:pPr lvl="1"/>
            <a:endParaRPr lang="en-US" sz="1600"/>
          </a:p>
          <a:p>
            <a:pPr lvl="1"/>
            <a:endParaRPr lang="en-US" sz="1600"/>
          </a:p>
          <a:p>
            <a:r>
              <a:rPr lang="en-US"/>
              <a:t>Menopause Clinic</a:t>
            </a:r>
          </a:p>
          <a:p>
            <a:pPr lvl="1"/>
            <a:r>
              <a:rPr lang="en-US" sz="1600"/>
              <a:t>Set up to offer women a private consultation to discuss their health needs</a:t>
            </a:r>
          </a:p>
          <a:p>
            <a:pPr lvl="1"/>
            <a:r>
              <a:rPr lang="en-US" sz="1600"/>
              <a:t>1 hour appointment to allow enough time for a full past medical history to be taken</a:t>
            </a:r>
          </a:p>
          <a:p>
            <a:pPr lvl="1"/>
            <a:r>
              <a:rPr lang="en-US" sz="1600"/>
              <a:t>Requires an IP with experience in women’s health</a:t>
            </a:r>
          </a:p>
          <a:p>
            <a:pPr marL="457200" lvl="1" indent="0">
              <a:buNone/>
            </a:pPr>
            <a:endParaRPr lang="en-US" sz="1600"/>
          </a:p>
          <a:p>
            <a:r>
              <a:rPr lang="en-US"/>
              <a:t>Dermatology Clinic</a:t>
            </a:r>
          </a:p>
          <a:p>
            <a:pPr lvl="1"/>
            <a:r>
              <a:rPr lang="en-US" sz="1600"/>
              <a:t>30 minutes appointment to look at any skin condition </a:t>
            </a:r>
          </a:p>
          <a:p>
            <a:pPr lvl="1"/>
            <a:r>
              <a:rPr lang="en-US" sz="1600"/>
              <a:t>Often involves a discussion about emollients (OTC)</a:t>
            </a:r>
          </a:p>
          <a:p>
            <a:pPr lvl="1"/>
            <a:r>
              <a:rPr lang="en-US" sz="1600"/>
              <a:t>Which can be with a member of the pharmacy team, but uses IP for prescription items</a:t>
            </a:r>
          </a:p>
          <a:p>
            <a:pPr lvl="1"/>
            <a:endParaRPr lang="en-US"/>
          </a:p>
          <a:p>
            <a:endParaRPr lang="en-US"/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50C7A5-266E-BE4A-7D81-8616720DB4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FD8D16-B04C-EF46-A5EF-57275144C7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52715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40919D-1A71-8F9B-A935-7596767E7D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207D78-8864-6F2F-710E-2AB3ADCF33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691794D-496C-1F7D-C999-6A2129EA7D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Services</a:t>
            </a:r>
          </a:p>
          <a:p>
            <a:endParaRPr lang="en-GB"/>
          </a:p>
          <a:p>
            <a:r>
              <a:rPr lang="en-GB"/>
              <a:t>Viewing our profession as clinicians</a:t>
            </a:r>
          </a:p>
          <a:p>
            <a:endParaRPr lang="en-GB"/>
          </a:p>
          <a:p>
            <a:r>
              <a:rPr lang="en-GB"/>
              <a:t>Skin </a:t>
            </a:r>
            <a:r>
              <a:rPr lang="en-GB" err="1"/>
              <a:t>crypotherapy</a:t>
            </a:r>
            <a:r>
              <a:rPr lang="en-GB"/>
              <a:t> - skin tags, warts</a:t>
            </a:r>
          </a:p>
          <a:p>
            <a:endParaRPr lang="en-GB"/>
          </a:p>
          <a:p>
            <a:r>
              <a:rPr lang="en-GB"/>
              <a:t>Contact GPs and other local service providers or community centres</a:t>
            </a:r>
          </a:p>
          <a:p>
            <a:r>
              <a:rPr lang="en-GB"/>
              <a:t>How are you going to make your patients aware of your services?</a:t>
            </a:r>
          </a:p>
          <a:p>
            <a:r>
              <a:rPr lang="en-GB"/>
              <a:t>Local Advertising</a:t>
            </a:r>
          </a:p>
          <a:p>
            <a:r>
              <a:rPr lang="en-GB"/>
              <a:t>Website</a:t>
            </a:r>
          </a:p>
          <a:p>
            <a:r>
              <a:rPr lang="en-GB"/>
              <a:t>Social Media – use your staff to advertise on their FB/Instagram</a:t>
            </a:r>
          </a:p>
          <a:p>
            <a:r>
              <a:rPr lang="en-GB"/>
              <a:t>Leaflets</a:t>
            </a:r>
          </a:p>
          <a:p>
            <a:r>
              <a:rPr lang="en-GB"/>
              <a:t>Staff word of mouth</a:t>
            </a:r>
          </a:p>
          <a:p>
            <a:r>
              <a:rPr lang="en-GB"/>
              <a:t>Staff social media</a:t>
            </a:r>
          </a:p>
          <a:p>
            <a:r>
              <a:rPr lang="en-GB"/>
              <a:t>GP surgery engagement - can you provide them with anything that lists your services – </a:t>
            </a:r>
            <a:r>
              <a:rPr lang="en-GB" err="1"/>
              <a:t>mousemats</a:t>
            </a:r>
            <a:r>
              <a:rPr lang="en-GB"/>
              <a:t> etc</a:t>
            </a:r>
          </a:p>
          <a:p>
            <a:endParaRPr lang="en-GB"/>
          </a:p>
          <a:p>
            <a:r>
              <a:rPr lang="en-GB"/>
              <a:t>Utilise IT and staff: </a:t>
            </a:r>
          </a:p>
          <a:p>
            <a:r>
              <a:rPr lang="en-GB"/>
              <a:t>PMR</a:t>
            </a:r>
          </a:p>
          <a:p>
            <a:endParaRPr lang="en-GB"/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>
                <a:solidFill>
                  <a:schemeClr val="tx1"/>
                </a:solidFill>
              </a:rPr>
              <a:t>M</a:t>
            </a:r>
            <a:r>
              <a:rPr lang="en-GB" b="1" err="1">
                <a:solidFill>
                  <a:schemeClr val="tx1"/>
                </a:solidFill>
                <a:effectLst/>
              </a:rPr>
              <a:t>ens</a:t>
            </a:r>
            <a:r>
              <a:rPr lang="en-GB" b="1">
                <a:solidFill>
                  <a:schemeClr val="tx1"/>
                </a:solidFill>
                <a:effectLst/>
              </a:rPr>
              <a:t> Health: </a:t>
            </a:r>
            <a:r>
              <a:rPr lang="en-GB">
                <a:solidFill>
                  <a:schemeClr val="tx1"/>
                </a:solidFill>
                <a:effectLst/>
              </a:rPr>
              <a:t>Hair Loss, Erectile Dysfunction, alcohol reduction, Back pain, Conjunctivitis, Haemorrhoids, Urinary Incontinence, Premature Ejaculation, Nausea and Sickness</a:t>
            </a:r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b="1">
                <a:solidFill>
                  <a:schemeClr val="tx1"/>
                </a:solidFill>
                <a:effectLst/>
              </a:rPr>
              <a:t>Women’s Health: </a:t>
            </a:r>
            <a:r>
              <a:rPr lang="en-GB">
                <a:solidFill>
                  <a:schemeClr val="tx1"/>
                </a:solidFill>
                <a:effectLst/>
              </a:rPr>
              <a:t>Period Delay, Alcohol reduction, facial hair removal, HPV Period Pain, Thrush, UTI treatment</a:t>
            </a: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endParaRPr lang="en-GB"/>
          </a:p>
          <a:p>
            <a:endParaRPr lang="en-GB"/>
          </a:p>
          <a:p>
            <a:r>
              <a:rPr lang="en-GB">
                <a:effectLst/>
                <a:latin typeface="Helvetica Neue" panose="02000503000000020004" pitchFamily="2" charset="0"/>
              </a:rPr>
              <a:t>Microneedling</a:t>
            </a:r>
          </a:p>
          <a:p>
            <a:r>
              <a:rPr lang="en-GB">
                <a:effectLst/>
                <a:latin typeface="Helvetica Neue" panose="02000503000000020004" pitchFamily="2" charset="0"/>
              </a:rPr>
              <a:t>Skin peeling</a:t>
            </a:r>
          </a:p>
          <a:p>
            <a:r>
              <a:rPr lang="en-GB">
                <a:effectLst/>
                <a:latin typeface="Helvetica Neue" panose="02000503000000020004" pitchFamily="2" charset="0"/>
              </a:rPr>
              <a:t>Iv drips </a:t>
            </a:r>
          </a:p>
          <a:p>
            <a:endParaRPr lang="en-GB"/>
          </a:p>
          <a:p>
            <a:endParaRPr lang="en-US"/>
          </a:p>
          <a:p>
            <a:r>
              <a:rPr lang="en-US"/>
              <a:t>Period Delay – £20-£27 depending on days needed</a:t>
            </a:r>
          </a:p>
          <a:p>
            <a:r>
              <a:rPr lang="en-US"/>
              <a:t>Cost is approx. £5-£6</a:t>
            </a:r>
          </a:p>
          <a:p>
            <a:endParaRPr lang="en-US"/>
          </a:p>
          <a:p>
            <a:endParaRPr lang="en-US"/>
          </a:p>
          <a:p>
            <a:r>
              <a:rPr lang="en-US"/>
              <a:t>Allergy Clinic</a:t>
            </a:r>
          </a:p>
          <a:p>
            <a:pPr lvl="1"/>
            <a:r>
              <a:rPr lang="en-US" sz="1600"/>
              <a:t>In particular during </a:t>
            </a:r>
            <a:r>
              <a:rPr lang="en-US" sz="1600" err="1"/>
              <a:t>hayfever</a:t>
            </a:r>
            <a:r>
              <a:rPr lang="en-US" sz="1600"/>
              <a:t> season</a:t>
            </a:r>
          </a:p>
          <a:p>
            <a:pPr lvl="1"/>
            <a:r>
              <a:rPr lang="en-US" sz="1600"/>
              <a:t>Review of allergy profile</a:t>
            </a:r>
          </a:p>
          <a:p>
            <a:pPr lvl="1"/>
            <a:r>
              <a:rPr lang="en-US" sz="1600"/>
              <a:t>Pharmacist led and need an IP can prescribe if required (or use PGDs)</a:t>
            </a:r>
          </a:p>
          <a:p>
            <a:pPr lvl="1"/>
            <a:endParaRPr lang="en-US" sz="1600"/>
          </a:p>
          <a:p>
            <a:r>
              <a:rPr lang="en-US"/>
              <a:t>Phlebotomy</a:t>
            </a:r>
          </a:p>
          <a:p>
            <a:pPr lvl="1"/>
            <a:r>
              <a:rPr lang="en-US" sz="1600"/>
              <a:t>Partnered with Nationwide lab (training required)</a:t>
            </a:r>
          </a:p>
          <a:p>
            <a:pPr lvl="1"/>
            <a:r>
              <a:rPr lang="en-US" sz="1600"/>
              <a:t>Charged at the end of the month the agreed fee per service by the lab</a:t>
            </a:r>
          </a:p>
          <a:p>
            <a:pPr lvl="2"/>
            <a:r>
              <a:rPr lang="en-US" sz="1600"/>
              <a:t>Pharmacy charges £40 for a blood draw</a:t>
            </a:r>
          </a:p>
          <a:p>
            <a:pPr lvl="2"/>
            <a:r>
              <a:rPr lang="en-US" sz="1600"/>
              <a:t>Pharmacy charges £60 for Hepatitis B tests</a:t>
            </a:r>
          </a:p>
          <a:p>
            <a:pPr lvl="1"/>
            <a:r>
              <a:rPr lang="en-US" sz="1600"/>
              <a:t>Once trained, it takes 10 minutes with the patient</a:t>
            </a:r>
          </a:p>
          <a:p>
            <a:pPr lvl="1"/>
            <a:endParaRPr lang="en-US" sz="1600"/>
          </a:p>
          <a:p>
            <a:pPr lvl="1"/>
            <a:endParaRPr lang="en-US" sz="1600"/>
          </a:p>
          <a:p>
            <a:r>
              <a:rPr lang="en-US"/>
              <a:t>Menopause Clinic</a:t>
            </a:r>
          </a:p>
          <a:p>
            <a:pPr lvl="1"/>
            <a:r>
              <a:rPr lang="en-US" sz="1600"/>
              <a:t>Set up to offer women a private consultation to discuss their health needs</a:t>
            </a:r>
          </a:p>
          <a:p>
            <a:pPr lvl="1"/>
            <a:r>
              <a:rPr lang="en-US" sz="1600"/>
              <a:t>1 hour appointment to allow enough time for a full past medical history to be taken</a:t>
            </a:r>
          </a:p>
          <a:p>
            <a:pPr lvl="1"/>
            <a:r>
              <a:rPr lang="en-US" sz="1600"/>
              <a:t>Requires an IP with experience in women’s health</a:t>
            </a:r>
          </a:p>
          <a:p>
            <a:pPr marL="457200" lvl="1" indent="0">
              <a:buNone/>
            </a:pPr>
            <a:endParaRPr lang="en-US" sz="1600"/>
          </a:p>
          <a:p>
            <a:r>
              <a:rPr lang="en-US"/>
              <a:t>Dermatology Clinic</a:t>
            </a:r>
          </a:p>
          <a:p>
            <a:pPr lvl="1"/>
            <a:r>
              <a:rPr lang="en-US" sz="1600"/>
              <a:t>30 minutes appointment to look at any skin condition </a:t>
            </a:r>
          </a:p>
          <a:p>
            <a:pPr lvl="1"/>
            <a:r>
              <a:rPr lang="en-US" sz="1600"/>
              <a:t>Often involves a discussion about emollients (OTC)</a:t>
            </a:r>
          </a:p>
          <a:p>
            <a:pPr lvl="1"/>
            <a:r>
              <a:rPr lang="en-US" sz="1600"/>
              <a:t>Which can be with a member of the pharmacy team, but uses IP for prescription items</a:t>
            </a:r>
          </a:p>
          <a:p>
            <a:pPr lvl="1"/>
            <a:endParaRPr lang="en-US"/>
          </a:p>
          <a:p>
            <a:endParaRPr lang="en-US"/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D3A49D-A0F9-6F2D-7552-9FFFADB229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FD8D16-B04C-EF46-A5EF-57275144C7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40840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FD8D16-B04C-EF46-A5EF-57275144C7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55074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E915B7-125F-49D8-B072-C7485BA9A97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36875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MS: An essential service since 2021, but are NHS trusts referring all the patients they could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n essential servi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B050"/>
                </a:solidFill>
              </a:rPr>
              <a:t>£35 consultation fe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ferrals from NHS Trus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uld they refer more?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Hypertension Case finding:</a:t>
            </a:r>
          </a:p>
          <a:p>
            <a:r>
              <a:rPr lang="en-GB" b="0" i="0" dirty="0">
                <a:solidFill>
                  <a:srgbClr val="00B050"/>
                </a:solidFill>
                <a:effectLst/>
                <a:latin typeface="DM Sans" pitchFamily="2" charset="0"/>
              </a:rPr>
              <a:t>£15 for clinic check</a:t>
            </a:r>
            <a:endParaRPr lang="en-GB" b="1" i="0" u="sng" dirty="0">
              <a:solidFill>
                <a:srgbClr val="00B050"/>
              </a:solidFill>
              <a:effectLst/>
              <a:latin typeface="DM Sans" pitchFamily="2" charset="0"/>
            </a:endParaRPr>
          </a:p>
          <a:p>
            <a:r>
              <a:rPr lang="en-GB" dirty="0">
                <a:solidFill>
                  <a:srgbClr val="00B050"/>
                </a:solidFill>
                <a:latin typeface="DM Sans" pitchFamily="2" charset="0"/>
              </a:rPr>
              <a:t>£45 for </a:t>
            </a:r>
            <a:r>
              <a:rPr lang="en-GB" b="0" i="0" dirty="0">
                <a:solidFill>
                  <a:srgbClr val="00B050"/>
                </a:solidFill>
                <a:effectLst/>
                <a:latin typeface="DM Sans" pitchFamily="2" charset="0"/>
              </a:rPr>
              <a:t>ambulatory monitoring</a:t>
            </a:r>
            <a:endParaRPr lang="en-US" dirty="0">
              <a:solidFill>
                <a:srgbClr val="00B05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elf referral for over 40’s or GP referral for any pati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ow to build a case loa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3"/>
              </a:rPr>
              <a:t>https://</a:t>
            </a:r>
            <a:r>
              <a:rPr lang="en-US" dirty="0" err="1">
                <a:hlinkClick r:id="rId3"/>
              </a:rPr>
              <a:t>cpe.org.uk</a:t>
            </a:r>
            <a:r>
              <a:rPr lang="en-US" dirty="0">
                <a:hlinkClick r:id="rId3"/>
              </a:rPr>
              <a:t>/national-pharmacy-services/advanced-services/hypertension-case-finding-service/</a:t>
            </a:r>
            <a:r>
              <a:rPr lang="en-US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ntraception:</a:t>
            </a:r>
          </a:p>
          <a:p>
            <a:r>
              <a:rPr lang="en-US" dirty="0">
                <a:solidFill>
                  <a:srgbClr val="00B050"/>
                </a:solidFill>
              </a:rPr>
              <a:t>£18 consultation fe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elf referral, or referral by GP or clini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uld they refer more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PPE &amp; LPC providing trai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4"/>
              </a:rPr>
              <a:t>https://</a:t>
            </a:r>
            <a:r>
              <a:rPr lang="en-US" dirty="0" err="1">
                <a:hlinkClick r:id="rId4"/>
              </a:rPr>
              <a:t>cpe.org.uk</a:t>
            </a:r>
            <a:r>
              <a:rPr lang="en-US" dirty="0">
                <a:hlinkClick r:id="rId4"/>
              </a:rPr>
              <a:t>/national-pharmacy-services/advanced-services/pharmacy-contraception-service/</a:t>
            </a:r>
            <a:r>
              <a:rPr lang="en-US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undling…?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Pharmacy Firs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riage is vital</a:t>
            </a:r>
            <a:endParaRPr lang="en-US" sz="1400" dirty="0"/>
          </a:p>
          <a:p>
            <a:r>
              <a:rPr lang="en-US" sz="1600" dirty="0"/>
              <a:t>	</a:t>
            </a:r>
            <a:r>
              <a:rPr lang="en-US" sz="1200" dirty="0"/>
              <a:t>£1,000 down payment, using the whole team, screening forms, etc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ssues with GP referrals – 34%-99% (Uneven picture around the country)</a:t>
            </a:r>
          </a:p>
          <a:p>
            <a:r>
              <a:rPr lang="en-US" sz="1200" dirty="0"/>
              <a:t>	Information for GP practice teams: </a:t>
            </a:r>
            <a:r>
              <a:rPr lang="en-US" sz="1200" u="sng" dirty="0">
                <a:solidFill>
                  <a:srgbClr val="0070C0"/>
                </a:solidFill>
              </a:rPr>
              <a:t>https://</a:t>
            </a:r>
            <a:r>
              <a:rPr lang="en-US" sz="1200" u="sng" dirty="0" err="1">
                <a:solidFill>
                  <a:srgbClr val="0070C0"/>
                </a:solidFill>
              </a:rPr>
              <a:t>cpe.org.uk</a:t>
            </a:r>
            <a:r>
              <a:rPr lang="en-US" sz="1200" u="sng" dirty="0">
                <a:solidFill>
                  <a:srgbClr val="0070C0"/>
                </a:solidFill>
              </a:rPr>
              <a:t>/national-</a:t>
            </a:r>
            <a:r>
              <a:rPr lang="en-US" sz="1200" dirty="0">
                <a:solidFill>
                  <a:srgbClr val="0070C0"/>
                </a:solidFill>
              </a:rPr>
              <a:t>	</a:t>
            </a:r>
            <a:r>
              <a:rPr lang="en-US" sz="1200" u="sng" dirty="0">
                <a:solidFill>
                  <a:srgbClr val="0070C0"/>
                </a:solidFill>
              </a:rPr>
              <a:t>pharmacy-services/advanced-services/pharmacy-first-</a:t>
            </a:r>
            <a:r>
              <a:rPr lang="en-US" sz="1200" dirty="0">
                <a:solidFill>
                  <a:srgbClr val="0070C0"/>
                </a:solidFill>
              </a:rPr>
              <a:t>	</a:t>
            </a:r>
            <a:r>
              <a:rPr lang="en-US" sz="1200" u="sng" dirty="0">
                <a:solidFill>
                  <a:srgbClr val="0070C0"/>
                </a:solidFill>
              </a:rPr>
              <a:t>service/pharmacy-first-information-for-gps/ </a:t>
            </a:r>
            <a:endParaRPr lang="en-US" u="sng" dirty="0">
              <a:solidFill>
                <a:srgbClr val="0070C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hat works well?</a:t>
            </a:r>
          </a:p>
          <a:p>
            <a:r>
              <a:rPr lang="en-US" sz="1200" dirty="0"/>
              <a:t>	Speak to the right people, feedback, working relationship, reputation</a:t>
            </a:r>
          </a:p>
          <a:p>
            <a:pPr algn="ctr"/>
            <a:r>
              <a:rPr lang="en-US" sz="2000" b="1" dirty="0"/>
              <a:t>Your future depends on it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(figures on GPs are the % of GPs actively using the PF service – average around 70% but there is a big variation depending on local relationships) Those are the latest NHSE numbers.</a:t>
            </a:r>
          </a:p>
          <a:p>
            <a:endParaRPr lang="en-US" dirty="0"/>
          </a:p>
          <a:p>
            <a:endParaRPr lang="en-US" dirty="0"/>
          </a:p>
          <a:p>
            <a:r>
              <a:rPr lang="en-GB" dirty="0"/>
              <a:t>PCN work – engage </a:t>
            </a:r>
            <a:r>
              <a:rPr lang="en-GB"/>
              <a:t>with surgerie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E915B7-125F-49D8-B072-C7485BA9A97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1870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Primary care recovery plan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E915B7-125F-49D8-B072-C7485BA9A97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12771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eam are already trained as vaccinators – what is stopping you utilizing these skills to expand your breadth of services?</a:t>
            </a:r>
          </a:p>
          <a:p>
            <a:endParaRPr lang="en-US"/>
          </a:p>
          <a:p>
            <a:r>
              <a:rPr lang="en-US"/>
              <a:t>Are you </a:t>
            </a:r>
            <a:r>
              <a:rPr lang="en-US" err="1"/>
              <a:t>maximsing</a:t>
            </a:r>
            <a:r>
              <a:rPr lang="en-US"/>
              <a:t> the use of your team - </a:t>
            </a:r>
            <a:r>
              <a:rPr lang="en-US" err="1"/>
              <a:t>traind</a:t>
            </a:r>
            <a:r>
              <a:rPr lang="en-US"/>
              <a:t> vaccinators, national protoco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E915B7-125F-49D8-B072-C7485BA9A97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09234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96E7E8-4F6B-FBC7-1D0D-7D123A1E28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72220D-1178-4F1B-9748-B4FA534D24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E58BFC-642F-29DC-F941-C93E6FBADC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CA5525-B4C7-CDC8-9E85-3EACD93ACD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FD8D16-B04C-EF46-A5EF-57275144C7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2936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E72524-5717-3809-5977-B8BD0F3BD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06228FC-33E7-66A2-AE66-2AB5FE15FA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FD94D64-A6C4-262A-4EF5-DBD540C9CB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F44640-1810-5D4D-53CC-2A8910FF55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FD8D16-B04C-EF46-A5EF-57275144C7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0448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sv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12.svg"/><Relationship Id="rId4" Type="http://schemas.openxmlformats.org/officeDocument/2006/relationships/image" Target="../media/image11.emf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sv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sv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sv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sv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sv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sv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sv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sv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9.sv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sv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9.svg"/><Relationship Id="rId4" Type="http://schemas.openxmlformats.org/officeDocument/2006/relationships/image" Target="../media/image11.emf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sv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sv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19.svg"/><Relationship Id="rId4" Type="http://schemas.openxmlformats.org/officeDocument/2006/relationships/image" Target="../media/image20.emf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sv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413C86EF-8A09-BA99-54A4-E8C34E6A08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65017" y="-1494660"/>
            <a:ext cx="3918570" cy="39185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AAAFE5-F4A4-452F-410B-00F842559A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291" y="1594300"/>
            <a:ext cx="6308536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B082381-823E-96D7-FEA7-396A114D82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4290" y="4073975"/>
            <a:ext cx="5744331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B92D0ED-FA3B-E1C3-CE0C-2FCEF59F57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584181" y="-1362161"/>
            <a:ext cx="745764" cy="2724322"/>
          </a:xfrm>
          <a:prstGeom prst="rect">
            <a:avLst/>
          </a:prstGeom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5305680-B6F6-870A-781B-1BBFDBAFFA99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Picture Placeholder 23">
            <a:extLst>
              <a:ext uri="{FF2B5EF4-FFF2-40B4-BE49-F238E27FC236}">
                <a16:creationId xmlns:a16="http://schemas.microsoft.com/office/drawing/2014/main" id="{9DD1B175-E0B7-DC20-88D5-1C79E22E5B2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1093" y="1887608"/>
            <a:ext cx="6774591" cy="6771632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endParaRPr lang="en-US"/>
          </a:p>
        </p:txBody>
      </p:sp>
      <p:pic>
        <p:nvPicPr>
          <p:cNvPr id="6" name="Picture 5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71625B96-B4D4-D4E6-2ED1-BA55DDC0B5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84703" y="4639164"/>
            <a:ext cx="4473610" cy="447361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F5103C7-4D53-2D26-81E6-CE4C79A144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470" y="493757"/>
            <a:ext cx="2336972" cy="490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9072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rgbClr val="ECF0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AA2A1528-7E90-E5E9-1F7F-4DA4E912FC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2548" y="-1621738"/>
            <a:ext cx="4439614" cy="4439614"/>
          </a:xfrm>
          <a:prstGeom prst="rect">
            <a:avLst/>
          </a:prstGeom>
        </p:spPr>
      </p:pic>
      <p:sp>
        <p:nvSpPr>
          <p:cNvPr id="14" name="Picture Placeholder 23">
            <a:extLst>
              <a:ext uri="{FF2B5EF4-FFF2-40B4-BE49-F238E27FC236}">
                <a16:creationId xmlns:a16="http://schemas.microsoft.com/office/drawing/2014/main" id="{91AC1C48-A9DD-3F33-C399-1613FC59F8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41659" y="2164383"/>
            <a:ext cx="6774591" cy="6771632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71CB63A-EA08-EC74-DD4C-8C22CC5436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973" y="5550199"/>
            <a:ext cx="1516725" cy="15167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8EF2A6-E49C-5331-C9FF-E408AA5694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7" y="2838450"/>
            <a:ext cx="5855959" cy="2401201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A4FDE35-96ED-495B-AF20-C2B7AC77B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4617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64313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CD1D94E0-762B-06D3-03CF-7D1E82F3D5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2475" y="-2635810"/>
            <a:ext cx="4869143" cy="4869143"/>
          </a:xfrm>
          <a:prstGeom prst="rect">
            <a:avLst/>
          </a:prstGeom>
        </p:spPr>
      </p:pic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865F2E57-9FB8-E737-3801-ADB1FFF19E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4909" y="4326173"/>
            <a:ext cx="3904697" cy="390469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425586-2A55-70A8-48EB-057D334BF5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69668" y="3466290"/>
            <a:ext cx="4971307" cy="3077660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08C3FC-B840-603C-AB3B-50C9A93C5C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923645"/>
            <a:ext cx="3932237" cy="35861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9F6724A-6CA5-B1F1-8B33-03BE4576A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127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DD15B2-16C1-5496-1324-2F34D2E0B1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844600" y="5520553"/>
            <a:ext cx="745764" cy="272432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D624D6F-4736-D146-34ED-FEB77043A8B7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2019352-8E4A-1880-E888-383B43AEB19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369668" y="2443163"/>
            <a:ext cx="497130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6F32587-9239-AFA8-A349-0F265FC818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1284" y="1912253"/>
            <a:ext cx="1655762" cy="1655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5013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594B8E1F-6996-D608-1840-30599B60DAE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33296" y="3428999"/>
            <a:ext cx="4961079" cy="4961079"/>
          </a:xfrm>
          <a:prstGeom prst="rect">
            <a:avLst/>
          </a:prstGeom>
        </p:spPr>
      </p:pic>
      <p:pic>
        <p:nvPicPr>
          <p:cNvPr id="3" name="Picture 2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AD73A5D2-552B-7AA9-6FE4-E1FA3C2CC7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18059" y="-2356435"/>
            <a:ext cx="3904697" cy="3904697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563C873A-1056-9F7E-30E6-F6DA151644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290" y="1594300"/>
            <a:ext cx="8015416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9545BDC5-FE33-0AFF-0F56-03610258E8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4290" y="4073975"/>
            <a:ext cx="9144000" cy="44944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130CB5F-2646-BB01-F27A-880136B704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470" y="493757"/>
            <a:ext cx="2336972" cy="49096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88D8769-12CA-BD91-C6ED-3D6C81B47FF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638712" y="-1362161"/>
            <a:ext cx="745764" cy="2724322"/>
          </a:xfrm>
          <a:prstGeom prst="rect">
            <a:avLst/>
          </a:prstGeom>
        </p:spPr>
      </p:pic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30A3982-748D-E87E-CBEB-26333A4FE3A9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01140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Vertical Text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CCFB88E4-D609-AC04-165B-26EC7863BC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74420" y="2870123"/>
            <a:ext cx="5519956" cy="551995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563C873A-1056-9F7E-30E6-F6DA151644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290" y="1594300"/>
            <a:ext cx="8015416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9545BDC5-FE33-0AFF-0F56-03610258E8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18355" y="4425385"/>
            <a:ext cx="8325846" cy="1622124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Name here</a:t>
            </a:r>
          </a:p>
          <a:p>
            <a:r>
              <a:rPr lang="en-GB"/>
              <a:t>Job title here</a:t>
            </a:r>
          </a:p>
          <a:p>
            <a:r>
              <a:rPr lang="en-GB"/>
              <a:t>The National Pharmacy Association</a:t>
            </a:r>
          </a:p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130CB5F-2646-BB01-F27A-880136B704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470" y="493757"/>
            <a:ext cx="2336972" cy="490961"/>
          </a:xfrm>
          <a:prstGeom prst="rect">
            <a:avLst/>
          </a:prstGeom>
        </p:spPr>
      </p:pic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30A3982-748D-E87E-CBEB-26333A4FE3A9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11AAF19F-E669-36B5-2F2B-266E1A866AD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4291" y="4464046"/>
            <a:ext cx="1394428" cy="1395248"/>
          </a:xfrm>
          <a:prstGeom prst="teardrop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3F5AA4-E05F-1504-B5C4-93C1E73AA98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19118" y="1911198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5407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413C86EF-8A09-BA99-54A4-E8C34E6A08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65017" y="-1494660"/>
            <a:ext cx="3918570" cy="39185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AAAFE5-F4A4-452F-410B-00F842559A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291" y="1594300"/>
            <a:ext cx="6308536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B082381-823E-96D7-FEA7-396A114D82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4290" y="4073975"/>
            <a:ext cx="5744331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B92D0ED-FA3B-E1C3-CE0C-2FCEF59F57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584181" y="-1362161"/>
            <a:ext cx="745764" cy="2724322"/>
          </a:xfrm>
          <a:prstGeom prst="rect">
            <a:avLst/>
          </a:prstGeom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5305680-B6F6-870A-781B-1BBFDBAFFA99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Picture Placeholder 23">
            <a:extLst>
              <a:ext uri="{FF2B5EF4-FFF2-40B4-BE49-F238E27FC236}">
                <a16:creationId xmlns:a16="http://schemas.microsoft.com/office/drawing/2014/main" id="{9DD1B175-E0B7-DC20-88D5-1C79E22E5B2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1093" y="1887608"/>
            <a:ext cx="6774591" cy="6771632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endParaRPr lang="en-US"/>
          </a:p>
        </p:txBody>
      </p:sp>
      <p:pic>
        <p:nvPicPr>
          <p:cNvPr id="6" name="Picture 5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71625B96-B4D4-D4E6-2ED1-BA55DDC0B5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84703" y="4639164"/>
            <a:ext cx="4473610" cy="447361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F5103C7-4D53-2D26-81E6-CE4C79A144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470" y="493757"/>
            <a:ext cx="2336972" cy="490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2230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687F0529-5A1B-EDE6-822F-C2B8166881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223881" y="-2546904"/>
            <a:ext cx="3659257" cy="3659257"/>
          </a:xfrm>
          <a:prstGeom prst="rect">
            <a:avLst/>
          </a:prstGeom>
        </p:spPr>
      </p:pic>
      <p:pic>
        <p:nvPicPr>
          <p:cNvPr id="5" name="Picture 4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C0CAC1E3-C3D6-4EA0-D1C9-510C71393D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51773" y="-717275"/>
            <a:ext cx="3659257" cy="36592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C049F3D-E633-0ACE-B2BB-A3AD21BEE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04406"/>
            <a:ext cx="8772728" cy="701731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B53522-6F54-224D-A46C-43BDB628E3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250391"/>
            <a:ext cx="8772728" cy="28549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2F1E6B3-76F2-AE77-19B6-32A3DF776C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5392" y="2250390"/>
            <a:ext cx="1516725" cy="15167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7803E3E-27FA-A6B0-4B3F-DC76C1E61D5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978891" y="5503596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9068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rgbClr val="6557A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AAA76282-768D-7E49-D180-B485DADEC2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682859" y="-2095500"/>
            <a:ext cx="4157180" cy="4157180"/>
          </a:xfrm>
          <a:prstGeom prst="rect">
            <a:avLst/>
          </a:prstGeom>
        </p:spPr>
      </p:pic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6E541C7D-F874-7801-E283-F76C11F7C2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43496" y="-1367891"/>
            <a:ext cx="5410200" cy="5410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8804E49-641E-FF54-5097-05FBBE91D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879245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41687-EF2C-59E5-C217-463879C844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5376152"/>
            <a:ext cx="10515600" cy="858972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EDD92C2-BD8F-6C0F-72E8-43425CFE63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574165" y="-1362161"/>
            <a:ext cx="745764" cy="272432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084EC78-637C-7789-F8FE-B3BB5465A6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0180" y="5490061"/>
            <a:ext cx="1655762" cy="1655762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387FD93-89C5-70DE-2BEC-D9360B6CA602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3145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B8145B38-E1CB-DEA8-8EF3-195F00F09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02292" y="-1621738"/>
            <a:ext cx="3559869" cy="3559869"/>
          </a:xfrm>
          <a:prstGeom prst="rect">
            <a:avLst/>
          </a:prstGeom>
        </p:spPr>
      </p:pic>
      <p:pic>
        <p:nvPicPr>
          <p:cNvPr id="7" name="Picture 6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9EFE190A-BE79-9FF0-5AE1-8B8F12A436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16986" y="5771404"/>
            <a:ext cx="4593535" cy="459353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A78CF30-E779-C483-A320-F5558596A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62891"/>
            <a:ext cx="8772728" cy="701731"/>
          </a:xfrm>
        </p:spPr>
        <p:txBody>
          <a:bodyPr>
            <a:spAutoFit/>
          </a:bodyPr>
          <a:lstStyle>
            <a:lvl1pPr>
              <a:defRPr>
                <a:solidFill>
                  <a:srgbClr val="44424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874C0A-7468-CB08-249C-DFA1D538B05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3222761"/>
            <a:ext cx="5181600" cy="2117631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864A62-5995-5383-6F3A-7E66D0D0F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3222761"/>
            <a:ext cx="5181600" cy="2117631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C07F452-D889-1223-CD75-DCE91489860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6252" y="-237567"/>
            <a:ext cx="1516725" cy="151672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35BBD88-FCA0-7EA7-87FE-1EF3D88AA68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944104" y="5495839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3662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9E3928B1-887D-2916-226E-E22E8A2DD0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535445" y="4352926"/>
            <a:ext cx="4452937" cy="4452937"/>
          </a:xfrm>
          <a:prstGeom prst="rect">
            <a:avLst/>
          </a:prstGeom>
        </p:spPr>
      </p:pic>
      <p:pic>
        <p:nvPicPr>
          <p:cNvPr id="8" name="Picture 7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A0A50425-406A-EC3C-7365-7B54BBFE76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5978" y="-1916418"/>
            <a:ext cx="4868069" cy="48680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C31442F-BA31-6775-04B7-C5BADCE4D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03187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AC2287-38A4-A752-F3E8-931CDD0AB3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347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F2B376-AAE0-D1BD-1768-8F98681C30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3339307"/>
            <a:ext cx="5157787" cy="317218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DBD214-8418-12E3-F3DF-C0E00764BB4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347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E677B34-8A0C-B735-0B20-FA76C9A5E65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3339307"/>
            <a:ext cx="5183188" cy="317218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E3FD4C2-A9E9-CDD4-EAA2-4ADB4A62C0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1592" y="2741926"/>
            <a:ext cx="1516725" cy="151672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20756B-0C15-7E89-6800-7CA90A3A2F6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632448" y="5495839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7632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rgbClr val="22BC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4FF93C2E-32B2-FE2C-F18F-9788F2175F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89173" y="-2550982"/>
            <a:ext cx="4869143" cy="4869143"/>
          </a:xfrm>
          <a:prstGeom prst="rect">
            <a:avLst/>
          </a:prstGeom>
        </p:spPr>
      </p:pic>
      <p:pic>
        <p:nvPicPr>
          <p:cNvPr id="4" name="Picture 3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BB8D8F1B-E58E-642E-D1EB-4657A7C5E1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116668" y="3577656"/>
            <a:ext cx="4869143" cy="486914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5C3884C-8EF9-7DD2-10D2-A924A8EEEF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3638" y="-1362161"/>
            <a:ext cx="745764" cy="27243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4020A47-C743-17AB-FB88-D763942999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3373" y="1760935"/>
            <a:ext cx="1655762" cy="165576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B0BA0F1-DFFD-80E2-DC45-EF5EDD1801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22102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B683E75-4DB4-17DB-2052-835B3DB5B2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838140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5A73B61-CE51-EE7E-096D-54BFBB867D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3829535"/>
            <a:ext cx="5157787" cy="23761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44361D7-79E1-9D7B-F952-8638CE000E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72200" y="2838140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B1E8BB2F-FB4E-AA68-918D-02713270363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3829535"/>
            <a:ext cx="5183188" cy="23761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F6F91CB0-A38D-5F2B-D79E-0DC70B2DF0A4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7229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687F0529-5A1B-EDE6-822F-C2B8166881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223881" y="-2546904"/>
            <a:ext cx="3659257" cy="3659257"/>
          </a:xfrm>
          <a:prstGeom prst="rect">
            <a:avLst/>
          </a:prstGeom>
        </p:spPr>
      </p:pic>
      <p:pic>
        <p:nvPicPr>
          <p:cNvPr id="5" name="Picture 4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C0CAC1E3-C3D6-4EA0-D1C9-510C71393D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51773" y="-717275"/>
            <a:ext cx="3659257" cy="36592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C049F3D-E633-0ACE-B2BB-A3AD21BEE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39091"/>
            <a:ext cx="8772728" cy="701731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B53522-6F54-224D-A46C-43BDB628E3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987675"/>
            <a:ext cx="8772728" cy="21176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2F1E6B3-76F2-AE77-19B6-32A3DF776C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5392" y="2250390"/>
            <a:ext cx="1516725" cy="15167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7803E3E-27FA-A6B0-4B3F-DC76C1E61D5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978891" y="5503596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6875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7F81F4F-A378-AEF4-662F-9CDCCC6D18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680438" y="-1362161"/>
            <a:ext cx="745764" cy="27243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CA0414E-B0E5-2546-910C-E13E6DB0F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65CEE1B-8BDB-08D5-1469-D177B3BD562B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FC51DEB1-ED5F-CD5D-E08B-32B717FD358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976996" y="-3579270"/>
            <a:ext cx="4869143" cy="4869143"/>
          </a:xfrm>
          <a:prstGeom prst="rect">
            <a:avLst/>
          </a:prstGeom>
        </p:spPr>
      </p:pic>
      <p:pic>
        <p:nvPicPr>
          <p:cNvPr id="3" name="Picture 2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3FE79465-4B7A-2FC1-F413-A5E8061048E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3411627" y="4003159"/>
            <a:ext cx="3904697" cy="39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0930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44155826-9C83-7D46-4DD6-9E5BA692E6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69145" y="-2069447"/>
            <a:ext cx="4869143" cy="4869143"/>
          </a:xfrm>
          <a:prstGeom prst="rect">
            <a:avLst/>
          </a:prstGeom>
        </p:spPr>
      </p:pic>
      <p:pic>
        <p:nvPicPr>
          <p:cNvPr id="6" name="Picture 5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C02971DE-D91F-0473-1BC5-9744B1C44A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411627" y="4003159"/>
            <a:ext cx="3904697" cy="390469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7F81F4F-A378-AEF4-662F-9CDCCC6D18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038413" y="5503596"/>
            <a:ext cx="745764" cy="27243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CA0414E-B0E5-2546-910C-E13E6DB0F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819417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65CEE1B-8BDB-08D5-1469-D177B3BD562B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0D5155-F22C-E471-08EF-38763A8C7BA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17562" y="-692301"/>
            <a:ext cx="1655762" cy="1655762"/>
          </a:xfrm>
          <a:prstGeom prst="rect">
            <a:avLst/>
          </a:prstGeom>
        </p:spPr>
      </p:pic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3C03BC15-4460-27E5-0D1D-49A07A1AF5A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838200" y="1891996"/>
            <a:ext cx="7820025" cy="41586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08468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ical Title and Text">
    <p:bg>
      <p:bgPr>
        <a:solidFill>
          <a:srgbClr val="ECF0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238BA8FC-22BB-5151-9462-33FC08AEAB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587504" y="5495839"/>
            <a:ext cx="745764" cy="2724322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3B0DFCF6-C03D-C7DE-194E-CD53DEC4D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>
            <a:lvl1pPr>
              <a:defRPr>
                <a:solidFill>
                  <a:srgbClr val="44424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2" name="Picture 1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AA180F42-E6D0-10D9-BF85-55E0EF1DBD5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2548" y="-3067766"/>
            <a:ext cx="4439614" cy="443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8888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bg>
      <p:bgPr>
        <a:solidFill>
          <a:srgbClr val="ECF0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AA2A1528-7E90-E5E9-1F7F-4DA4E912FC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2548" y="-1621738"/>
            <a:ext cx="4439614" cy="4439614"/>
          </a:xfrm>
          <a:prstGeom prst="rect">
            <a:avLst/>
          </a:prstGeom>
        </p:spPr>
      </p:pic>
      <p:sp>
        <p:nvSpPr>
          <p:cNvPr id="14" name="Picture Placeholder 23">
            <a:extLst>
              <a:ext uri="{FF2B5EF4-FFF2-40B4-BE49-F238E27FC236}">
                <a16:creationId xmlns:a16="http://schemas.microsoft.com/office/drawing/2014/main" id="{91AC1C48-A9DD-3F33-C399-1613FC59F8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41659" y="2164383"/>
            <a:ext cx="6774591" cy="6771632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71CB63A-EA08-EC74-DD4C-8C22CC5436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973" y="5550199"/>
            <a:ext cx="1516725" cy="15167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8EF2A6-E49C-5331-C9FF-E408AA5694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7" y="2838450"/>
            <a:ext cx="5855959" cy="2401201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A4FDE35-96ED-495B-AF20-C2B7AC77B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4617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9888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CD1D94E0-762B-06D3-03CF-7D1E82F3D5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2475" y="-2635810"/>
            <a:ext cx="4869143" cy="4869143"/>
          </a:xfrm>
          <a:prstGeom prst="rect">
            <a:avLst/>
          </a:prstGeom>
        </p:spPr>
      </p:pic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865F2E57-9FB8-E737-3801-ADB1FFF19E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4909" y="4326173"/>
            <a:ext cx="3904697" cy="390469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425586-2A55-70A8-48EB-057D334BF5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69668" y="3466290"/>
            <a:ext cx="4971307" cy="3077660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08C3FC-B840-603C-AB3B-50C9A93C5C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923645"/>
            <a:ext cx="3932237" cy="35861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9F6724A-6CA5-B1F1-8B33-03BE4576A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127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DD15B2-16C1-5496-1324-2F34D2E0B1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844600" y="5520553"/>
            <a:ext cx="745764" cy="272432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D624D6F-4736-D146-34ED-FEB77043A8B7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2019352-8E4A-1880-E888-383B43AEB19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369668" y="2443163"/>
            <a:ext cx="497130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6F32587-9239-AFA8-A349-0F265FC818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1284" y="1912253"/>
            <a:ext cx="1655762" cy="1655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5376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Vertical Text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594B8E1F-6996-D608-1840-30599B60DAE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33296" y="3428999"/>
            <a:ext cx="4961079" cy="4961079"/>
          </a:xfrm>
          <a:prstGeom prst="rect">
            <a:avLst/>
          </a:prstGeom>
        </p:spPr>
      </p:pic>
      <p:pic>
        <p:nvPicPr>
          <p:cNvPr id="3" name="Picture 2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AD73A5D2-552B-7AA9-6FE4-E1FA3C2CC7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18059" y="-2356435"/>
            <a:ext cx="3904697" cy="3904697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563C873A-1056-9F7E-30E6-F6DA151644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290" y="1594300"/>
            <a:ext cx="8015416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9545BDC5-FE33-0AFF-0F56-03610258E8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4290" y="4073975"/>
            <a:ext cx="9144000" cy="44944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130CB5F-2646-BB01-F27A-880136B704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470" y="493757"/>
            <a:ext cx="2336972" cy="49096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88D8769-12CA-BD91-C6ED-3D6C81B47FF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638712" y="-1362161"/>
            <a:ext cx="745764" cy="2724322"/>
          </a:xfrm>
          <a:prstGeom prst="rect">
            <a:avLst/>
          </a:prstGeom>
        </p:spPr>
      </p:pic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30A3982-748D-E87E-CBEB-26333A4FE3A9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1027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Vertical Text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CCFB88E4-D609-AC04-165B-26EC7863BC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74420" y="2870123"/>
            <a:ext cx="5519956" cy="551995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563C873A-1056-9F7E-30E6-F6DA151644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290" y="1594300"/>
            <a:ext cx="8015416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9545BDC5-FE33-0AFF-0F56-03610258E8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18355" y="4425385"/>
            <a:ext cx="8325846" cy="1622124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Name here</a:t>
            </a:r>
          </a:p>
          <a:p>
            <a:r>
              <a:rPr lang="en-GB"/>
              <a:t>Job title here</a:t>
            </a:r>
          </a:p>
          <a:p>
            <a:r>
              <a:rPr lang="en-GB"/>
              <a:t>The National Pharmacy Association</a:t>
            </a:r>
          </a:p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130CB5F-2646-BB01-F27A-880136B704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470" y="493757"/>
            <a:ext cx="2336972" cy="490961"/>
          </a:xfrm>
          <a:prstGeom prst="rect">
            <a:avLst/>
          </a:prstGeom>
        </p:spPr>
      </p:pic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30A3982-748D-E87E-CBEB-26333A4FE3A9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11AAF19F-E669-36B5-2F2B-266E1A866AD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4291" y="4464046"/>
            <a:ext cx="1394428" cy="1395248"/>
          </a:xfrm>
          <a:prstGeom prst="teardrop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3F5AA4-E05F-1504-B5C4-93C1E73AA98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19118" y="1911198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7955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B76970-59B0-02CE-F0CF-5DF2129D58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5000">
                <a:srgbClr val="140B42"/>
              </a:gs>
              <a:gs pos="80000">
                <a:srgbClr val="005587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486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486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</a:t>
            </a:r>
            <a:br>
              <a:rPr lang="en-US"/>
            </a:br>
            <a:r>
              <a:rPr lang="en-US"/>
              <a:t>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486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16200000">
            <a:off x="10172703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16200000">
            <a:off x="10741443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16200000">
            <a:off x="7833691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EC8515-986E-A47F-4BDA-CED96BF08D65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16200000">
            <a:off x="9058253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25B28D-E9A6-1255-B443-7613304201B6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5896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4175059"/>
            <a:ext cx="624575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45751" cy="2084832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4575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6E9086A-E529-2788-B0E4-EFA79D0E2F3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1F4E818-2A83-7489-FE1B-DC8FFF233719}"/>
              </a:ext>
            </a:extLst>
          </p:cNvPr>
          <p:cNvSpPr/>
          <p:nvPr userDrawn="1"/>
        </p:nvSpPr>
        <p:spPr>
          <a:xfrm rot="900000">
            <a:off x="7116823" y="-191976"/>
            <a:ext cx="1244450" cy="1815506"/>
          </a:xfrm>
          <a:custGeom>
            <a:avLst/>
            <a:gdLst>
              <a:gd name="connsiteX0" fmla="*/ 0 w 1244450"/>
              <a:gd name="connsiteY0" fmla="*/ 333449 h 1815506"/>
              <a:gd name="connsiteX1" fmla="*/ 1244450 w 1244450"/>
              <a:gd name="connsiteY1" fmla="*/ 0 h 1815506"/>
              <a:gd name="connsiteX2" fmla="*/ 1244450 w 1244450"/>
              <a:gd name="connsiteY2" fmla="*/ 1193281 h 1815506"/>
              <a:gd name="connsiteX3" fmla="*/ 622225 w 1244450"/>
              <a:gd name="connsiteY3" fmla="*/ 1815506 h 1815506"/>
              <a:gd name="connsiteX4" fmla="*/ 0 w 1244450"/>
              <a:gd name="connsiteY4" fmla="*/ 1193281 h 1815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4450" h="1815506">
                <a:moveTo>
                  <a:pt x="0" y="333449"/>
                </a:moveTo>
                <a:lnTo>
                  <a:pt x="1244450" y="0"/>
                </a:lnTo>
                <a:lnTo>
                  <a:pt x="1244450" y="1193281"/>
                </a:lnTo>
                <a:cubicBezTo>
                  <a:pt x="1244450" y="1536926"/>
                  <a:pt x="965870" y="1815506"/>
                  <a:pt x="622225" y="1815506"/>
                </a:cubicBezTo>
                <a:cubicBezTo>
                  <a:pt x="278580" y="1815506"/>
                  <a:pt x="0" y="1536926"/>
                  <a:pt x="0" y="1193281"/>
                </a:cubicBezTo>
                <a:close/>
              </a:path>
            </a:pathLst>
          </a:custGeom>
          <a:gradFill>
            <a:gsLst>
              <a:gs pos="20000">
                <a:srgbClr val="140B42"/>
              </a:gs>
              <a:gs pos="80000">
                <a:schemeClr val="accent2"/>
              </a:gs>
            </a:gsLst>
            <a:lin ang="5400000" scaled="1"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213A8D0-50D2-BE07-C33B-5280FE4232B0}"/>
              </a:ext>
            </a:extLst>
          </p:cNvPr>
          <p:cNvSpPr/>
          <p:nvPr userDrawn="1"/>
        </p:nvSpPr>
        <p:spPr>
          <a:xfrm rot="900000">
            <a:off x="11384415" y="4422162"/>
            <a:ext cx="1089824" cy="2621535"/>
          </a:xfrm>
          <a:custGeom>
            <a:avLst/>
            <a:gdLst>
              <a:gd name="connsiteX0" fmla="*/ 465632 w 1089824"/>
              <a:gd name="connsiteY0" fmla="*/ 0 h 2621535"/>
              <a:gd name="connsiteX1" fmla="*/ 1089824 w 1089824"/>
              <a:gd name="connsiteY1" fmla="*/ 2329517 h 2621535"/>
              <a:gd name="connsiteX2" fmla="*/ 0 w 1089824"/>
              <a:gd name="connsiteY2" fmla="*/ 2621535 h 2621535"/>
              <a:gd name="connsiteX3" fmla="*/ 0 w 1089824"/>
              <a:gd name="connsiteY3" fmla="*/ 596865 h 2621535"/>
              <a:gd name="connsiteX4" fmla="*/ 377494 w 1089824"/>
              <a:gd name="connsiteY4" fmla="*/ 27359 h 2621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824" h="2621535">
                <a:moveTo>
                  <a:pt x="465632" y="0"/>
                </a:moveTo>
                <a:lnTo>
                  <a:pt x="1089824" y="2329517"/>
                </a:lnTo>
                <a:lnTo>
                  <a:pt x="0" y="2621535"/>
                </a:lnTo>
                <a:lnTo>
                  <a:pt x="0" y="596865"/>
                </a:lnTo>
                <a:cubicBezTo>
                  <a:pt x="0" y="340849"/>
                  <a:pt x="155656" y="121189"/>
                  <a:pt x="377494" y="27359"/>
                </a:cubicBezTo>
                <a:close/>
              </a:path>
            </a:pathLst>
          </a:custGeom>
          <a:gradFill flip="none" rotWithShape="1">
            <a:gsLst>
              <a:gs pos="20000">
                <a:schemeClr val="accent2"/>
              </a:gs>
              <a:gs pos="8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CA7F2F6-48FC-1B44-89F9-84682C0ED811}"/>
              </a:ext>
            </a:extLst>
          </p:cNvPr>
          <p:cNvSpPr/>
          <p:nvPr userDrawn="1"/>
        </p:nvSpPr>
        <p:spPr>
          <a:xfrm rot="900000">
            <a:off x="7841778" y="-500135"/>
            <a:ext cx="3914186" cy="7999940"/>
          </a:xfrm>
          <a:custGeom>
            <a:avLst/>
            <a:gdLst>
              <a:gd name="connsiteX0" fmla="*/ 3362855 w 3914186"/>
              <a:gd name="connsiteY0" fmla="*/ 0 h 7999940"/>
              <a:gd name="connsiteX1" fmla="*/ 3914186 w 3914186"/>
              <a:gd name="connsiteY1" fmla="*/ 2057597 h 7999940"/>
              <a:gd name="connsiteX2" fmla="*/ 3914185 w 3914186"/>
              <a:gd name="connsiteY2" fmla="*/ 6952194 h 7999940"/>
              <a:gd name="connsiteX3" fmla="*/ 3947 w 3914186"/>
              <a:gd name="connsiteY3" fmla="*/ 7999940 h 7999940"/>
              <a:gd name="connsiteX4" fmla="*/ 0 w 3914186"/>
              <a:gd name="connsiteY4" fmla="*/ 7921778 h 7999940"/>
              <a:gd name="connsiteX5" fmla="*/ 1 w 3914186"/>
              <a:gd name="connsiteY5" fmla="*/ 901074 h 7999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14186" h="7999940">
                <a:moveTo>
                  <a:pt x="3362855" y="0"/>
                </a:moveTo>
                <a:lnTo>
                  <a:pt x="3914186" y="2057597"/>
                </a:lnTo>
                <a:lnTo>
                  <a:pt x="3914185" y="6952194"/>
                </a:lnTo>
                <a:lnTo>
                  <a:pt x="3947" y="7999940"/>
                </a:lnTo>
                <a:lnTo>
                  <a:pt x="0" y="7921778"/>
                </a:lnTo>
                <a:lnTo>
                  <a:pt x="1" y="901074"/>
                </a:lnTo>
                <a:close/>
              </a:path>
            </a:pathLst>
          </a:custGeom>
          <a:solidFill>
            <a:schemeClr val="accent2"/>
          </a:soli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950733-D386-D461-6995-42A6097FF11E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681458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95852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95852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95852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455B4A9-C2C4-4D4B-B5A6-E3BB93F31793}"/>
              </a:ext>
            </a:extLst>
          </p:cNvPr>
          <p:cNvSpPr/>
          <p:nvPr userDrawn="1"/>
        </p:nvSpPr>
        <p:spPr>
          <a:xfrm rot="18880191">
            <a:off x="7003968" y="958724"/>
            <a:ext cx="5766811" cy="1634831"/>
          </a:xfrm>
          <a:custGeom>
            <a:avLst/>
            <a:gdLst>
              <a:gd name="connsiteX0" fmla="*/ 7130190 w 7130190"/>
              <a:gd name="connsiteY0" fmla="*/ 1494581 h 2021334"/>
              <a:gd name="connsiteX1" fmla="*/ 6597331 w 7130190"/>
              <a:gd name="connsiteY1" fmla="*/ 2021334 h 2021334"/>
              <a:gd name="connsiteX2" fmla="*/ 1010667 w 7130190"/>
              <a:gd name="connsiteY2" fmla="*/ 2021334 h 2021334"/>
              <a:gd name="connsiteX3" fmla="*/ 0 w 7130190"/>
              <a:gd name="connsiteY3" fmla="*/ 1010667 h 2021334"/>
              <a:gd name="connsiteX4" fmla="*/ 1010667 w 7130190"/>
              <a:gd name="connsiteY4" fmla="*/ 0 h 2021334"/>
              <a:gd name="connsiteX5" fmla="*/ 5652735 w 7130190"/>
              <a:gd name="connsiteY5" fmla="*/ 0 h 2021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0190" h="2021334">
                <a:moveTo>
                  <a:pt x="7130190" y="1494581"/>
                </a:moveTo>
                <a:lnTo>
                  <a:pt x="6597331" y="2021334"/>
                </a:lnTo>
                <a:lnTo>
                  <a:pt x="1010667" y="2021334"/>
                </a:lnTo>
                <a:cubicBezTo>
                  <a:pt x="452491" y="2021334"/>
                  <a:pt x="0" y="1568843"/>
                  <a:pt x="0" y="1010667"/>
                </a:cubicBezTo>
                <a:cubicBezTo>
                  <a:pt x="0" y="452491"/>
                  <a:pt x="452491" y="0"/>
                  <a:pt x="1010667" y="0"/>
                </a:cubicBezTo>
                <a:lnTo>
                  <a:pt x="565273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745EF4D-5A59-0033-22CE-A967C3343CEA}"/>
              </a:ext>
            </a:extLst>
          </p:cNvPr>
          <p:cNvSpPr/>
          <p:nvPr userDrawn="1"/>
        </p:nvSpPr>
        <p:spPr>
          <a:xfrm rot="18880191">
            <a:off x="8499307" y="2355298"/>
            <a:ext cx="2930426" cy="887781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4CC37FF-6C44-F059-2F5F-95F30D6AF64C}"/>
              </a:ext>
            </a:extLst>
          </p:cNvPr>
          <p:cNvSpPr/>
          <p:nvPr userDrawn="1"/>
        </p:nvSpPr>
        <p:spPr>
          <a:xfrm rot="18880191">
            <a:off x="8572095" y="74113"/>
            <a:ext cx="2335382" cy="887781"/>
          </a:xfrm>
          <a:custGeom>
            <a:avLst/>
            <a:gdLst>
              <a:gd name="connsiteX0" fmla="*/ 1802418 w 2887509"/>
              <a:gd name="connsiteY0" fmla="*/ 0 h 1097669"/>
              <a:gd name="connsiteX1" fmla="*/ 2887509 w 2887509"/>
              <a:gd name="connsiteY1" fmla="*/ 1097669 h 1097669"/>
              <a:gd name="connsiteX2" fmla="*/ 548834 w 2887509"/>
              <a:gd name="connsiteY2" fmla="*/ 1097668 h 1097669"/>
              <a:gd name="connsiteX3" fmla="*/ 0 w 2887509"/>
              <a:gd name="connsiteY3" fmla="*/ 548834 h 1097669"/>
              <a:gd name="connsiteX4" fmla="*/ 548834 w 2887509"/>
              <a:gd name="connsiteY4" fmla="*/ 0 h 1097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7509" h="1097669">
                <a:moveTo>
                  <a:pt x="1802418" y="0"/>
                </a:moveTo>
                <a:lnTo>
                  <a:pt x="2887509" y="1097669"/>
                </a:lnTo>
                <a:lnTo>
                  <a:pt x="548834" y="1097668"/>
                </a:lnTo>
                <a:cubicBezTo>
                  <a:pt x="245721" y="1097668"/>
                  <a:pt x="0" y="851947"/>
                  <a:pt x="0" y="548834"/>
                </a:cubicBezTo>
                <a:cubicBezTo>
                  <a:pt x="0" y="245721"/>
                  <a:pt x="245721" y="0"/>
                  <a:pt x="54883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69183B-EF09-DEB8-DBB1-EE99DD036764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AC475A6-CE10-0E6A-2700-525C57FA92F3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437387" y="536223"/>
            <a:ext cx="3931862" cy="3934695"/>
          </a:xfrm>
          <a:custGeom>
            <a:avLst/>
            <a:gdLst>
              <a:gd name="connsiteX0" fmla="*/ 382156 w 3931862"/>
              <a:gd name="connsiteY0" fmla="*/ 10539 h 3934695"/>
              <a:gd name="connsiteX1" fmla="*/ 384583 w 3931862"/>
              <a:gd name="connsiteY1" fmla="*/ 9785 h 3934695"/>
              <a:gd name="connsiteX2" fmla="*/ 481653 w 3931862"/>
              <a:gd name="connsiteY2" fmla="*/ 0 h 3934695"/>
              <a:gd name="connsiteX3" fmla="*/ 1113950 w 3931862"/>
              <a:gd name="connsiteY3" fmla="*/ 0 h 3934695"/>
              <a:gd name="connsiteX4" fmla="*/ 3931862 w 3931862"/>
              <a:gd name="connsiteY4" fmla="*/ 2817912 h 3934695"/>
              <a:gd name="connsiteX5" fmla="*/ 3931862 w 3931862"/>
              <a:gd name="connsiteY5" fmla="*/ 3453042 h 3934695"/>
              <a:gd name="connsiteX6" fmla="*/ 3450209 w 3931862"/>
              <a:gd name="connsiteY6" fmla="*/ 3934695 h 3934695"/>
              <a:gd name="connsiteX7" fmla="*/ 481653 w 3931862"/>
              <a:gd name="connsiteY7" fmla="*/ 3934695 h 3934695"/>
              <a:gd name="connsiteX8" fmla="*/ 0 w 3931862"/>
              <a:gd name="connsiteY8" fmla="*/ 3453042 h 3934695"/>
              <a:gd name="connsiteX9" fmla="*/ 0 w 3931862"/>
              <a:gd name="connsiteY9" fmla="*/ 481653 h 3934695"/>
              <a:gd name="connsiteX10" fmla="*/ 9786 w 3931862"/>
              <a:gd name="connsiteY10" fmla="*/ 384583 h 3934695"/>
              <a:gd name="connsiteX11" fmla="*/ 10539 w 3931862"/>
              <a:gd name="connsiteY11" fmla="*/ 382157 h 3934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931862" h="3934695">
                <a:moveTo>
                  <a:pt x="382156" y="10539"/>
                </a:moveTo>
                <a:lnTo>
                  <a:pt x="384583" y="9785"/>
                </a:lnTo>
                <a:cubicBezTo>
                  <a:pt x="415937" y="3370"/>
                  <a:pt x="448402" y="0"/>
                  <a:pt x="481653" y="0"/>
                </a:cubicBezTo>
                <a:lnTo>
                  <a:pt x="1113950" y="0"/>
                </a:lnTo>
                <a:lnTo>
                  <a:pt x="3931862" y="2817912"/>
                </a:lnTo>
                <a:lnTo>
                  <a:pt x="3931862" y="3453042"/>
                </a:lnTo>
                <a:cubicBezTo>
                  <a:pt x="3931862" y="3719052"/>
                  <a:pt x="3716219" y="3934695"/>
                  <a:pt x="3450209" y="3934695"/>
                </a:cubicBezTo>
                <a:lnTo>
                  <a:pt x="481653" y="3934695"/>
                </a:lnTo>
                <a:cubicBezTo>
                  <a:pt x="215643" y="3934695"/>
                  <a:pt x="0" y="3719052"/>
                  <a:pt x="0" y="3453042"/>
                </a:cubicBezTo>
                <a:lnTo>
                  <a:pt x="0" y="481653"/>
                </a:lnTo>
                <a:cubicBezTo>
                  <a:pt x="0" y="448402"/>
                  <a:pt x="3369" y="415937"/>
                  <a:pt x="9786" y="384583"/>
                </a:cubicBezTo>
                <a:lnTo>
                  <a:pt x="10539" y="3821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74012F6A-325E-BA05-9E6A-DBAD18E7D956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10223690" y="810799"/>
            <a:ext cx="3785617" cy="3568117"/>
          </a:xfrm>
          <a:custGeom>
            <a:avLst/>
            <a:gdLst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7" fmla="*/ 197031 w 3804547"/>
              <a:gd name="connsiteY7" fmla="*/ 91440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3804547 w 3804547"/>
              <a:gd name="connsiteY0" fmla="*/ 3593489 h 3596007"/>
              <a:gd name="connsiteX1" fmla="*/ 3779576 w 3804547"/>
              <a:gd name="connsiteY1" fmla="*/ 3596007 h 3596007"/>
              <a:gd name="connsiteX2" fmla="*/ 501834 w 3804547"/>
              <a:gd name="connsiteY2" fmla="*/ 3596007 h 3596007"/>
              <a:gd name="connsiteX3" fmla="*/ 0 w 3804547"/>
              <a:gd name="connsiteY3" fmla="*/ 3094173 h 3596007"/>
              <a:gd name="connsiteX4" fmla="*/ 0 w 3804547"/>
              <a:gd name="connsiteY4" fmla="*/ 1237 h 3596007"/>
              <a:gd name="connsiteX5" fmla="*/ 125 w 3804547"/>
              <a:gd name="connsiteY5" fmla="*/ 0 h 359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4547" h="3596007">
                <a:moveTo>
                  <a:pt x="3804547" y="3593489"/>
                </a:moveTo>
                <a:lnTo>
                  <a:pt x="3779576" y="3596007"/>
                </a:lnTo>
                <a:lnTo>
                  <a:pt x="501834" y="3596007"/>
                </a:lnTo>
                <a:cubicBezTo>
                  <a:pt x="224679" y="3596007"/>
                  <a:pt x="0" y="3371328"/>
                  <a:pt x="0" y="3094173"/>
                </a:cubicBezTo>
                <a:lnTo>
                  <a:pt x="0" y="1237"/>
                </a:lnTo>
                <a:cubicBezTo>
                  <a:pt x="42" y="825"/>
                  <a:pt x="83" y="412"/>
                  <a:pt x="125" y="0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189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rgbClr val="6557A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AAA76282-768D-7E49-D180-B485DADEC2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682859" y="-2095500"/>
            <a:ext cx="4157180" cy="4157180"/>
          </a:xfrm>
          <a:prstGeom prst="rect">
            <a:avLst/>
          </a:prstGeom>
        </p:spPr>
      </p:pic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6E541C7D-F874-7801-E283-F76C11F7C2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43496" y="-1367891"/>
            <a:ext cx="5410200" cy="5410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8804E49-641E-FF54-5097-05FBBE91D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879245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41687-EF2C-59E5-C217-463879C844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5376152"/>
            <a:ext cx="10515600" cy="858972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EDD92C2-BD8F-6C0F-72E8-43425CFE63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574165" y="-1362161"/>
            <a:ext cx="745764" cy="272432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084EC78-637C-7789-F8FE-B3BB5465A6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0180" y="5490061"/>
            <a:ext cx="1655762" cy="1655762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387FD93-89C5-70DE-2BEC-D9360B6CA602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1432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9141FD9-B1AB-9467-AE12-61BD0B9D32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BA3E6B8-401F-4894-EFB9-D9735958D8E8}"/>
              </a:ext>
            </a:extLst>
          </p:cNvPr>
          <p:cNvSpPr/>
          <p:nvPr userDrawn="1"/>
        </p:nvSpPr>
        <p:spPr>
          <a:xfrm rot="2700000">
            <a:off x="9723652" y="4718086"/>
            <a:ext cx="1514141" cy="3134243"/>
          </a:xfrm>
          <a:custGeom>
            <a:avLst/>
            <a:gdLst>
              <a:gd name="connsiteX0" fmla="*/ 0 w 1514141"/>
              <a:gd name="connsiteY0" fmla="*/ 1514140 h 3134243"/>
              <a:gd name="connsiteX1" fmla="*/ 1514140 w 1514141"/>
              <a:gd name="connsiteY1" fmla="*/ 0 h 3134243"/>
              <a:gd name="connsiteX2" fmla="*/ 1514141 w 1514141"/>
              <a:gd name="connsiteY2" fmla="*/ 1620102 h 3134243"/>
              <a:gd name="connsiteX3" fmla="*/ 0 w 1514141"/>
              <a:gd name="connsiteY3" fmla="*/ 3134243 h 3134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4141" h="3134243">
                <a:moveTo>
                  <a:pt x="0" y="1514140"/>
                </a:moveTo>
                <a:lnTo>
                  <a:pt x="1514140" y="0"/>
                </a:lnTo>
                <a:lnTo>
                  <a:pt x="1514141" y="1620102"/>
                </a:lnTo>
                <a:lnTo>
                  <a:pt x="0" y="3134243"/>
                </a:ln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0B254E66-5B23-8376-EA6C-51BA078AD05B}"/>
              </a:ext>
            </a:extLst>
          </p:cNvPr>
          <p:cNvSpPr/>
          <p:nvPr userDrawn="1"/>
        </p:nvSpPr>
        <p:spPr>
          <a:xfrm rot="13500000">
            <a:off x="9484269" y="5130635"/>
            <a:ext cx="651476" cy="14478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/>
          <p:nvPr userDrawn="1"/>
        </p:nvSpPr>
        <p:spPr>
          <a:xfrm rot="2700000">
            <a:off x="8432799" y="-404009"/>
            <a:ext cx="1987250" cy="652218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D3108861-7328-DB12-4F81-BB23B928A631}"/>
              </a:ext>
            </a:extLst>
          </p:cNvPr>
          <p:cNvSpPr/>
          <p:nvPr userDrawn="1"/>
        </p:nvSpPr>
        <p:spPr>
          <a:xfrm rot="2700000">
            <a:off x="9121183" y="103638"/>
            <a:ext cx="651476" cy="2492719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23CF0F-9A82-87BC-E359-747ED7A2C5ED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EF0DFE2A-76D5-74DB-5A41-BA634A097E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8470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02D114-3397-DC1A-7731-F1F0FFF234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8470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C279139-E1CD-417D-F2DC-0ECDF9271B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9834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795ADEF-DFE7-7A95-ACDE-93A739BB8442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BE79103-E87B-C357-DC48-0711CA04F4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69100" y="1511300"/>
            <a:ext cx="5422900" cy="42672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84751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5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BD574E3-8AFF-DFA9-0FCB-ACE4DACD2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69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574E3-8AFF-DFA9-0FCB-ACE4DACD2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5368925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5482392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368925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74DE7C-EAB9-6B9B-19AB-DEFA4EF622D3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24A7E03-2DC4-A20C-610D-3801615F1648}"/>
              </a:ext>
            </a:extLst>
          </p:cNvPr>
          <p:cNvSpPr>
            <a:spLocks/>
          </p:cNvSpPr>
          <p:nvPr userDrawn="1"/>
        </p:nvSpPr>
        <p:spPr bwMode="auto">
          <a:xfrm>
            <a:off x="5476875" y="3219450"/>
            <a:ext cx="6711950" cy="3638550"/>
          </a:xfrm>
          <a:custGeom>
            <a:avLst/>
            <a:gdLst>
              <a:gd name="T0" fmla="*/ 2114 w 2114"/>
              <a:gd name="T1" fmla="*/ 869 h 1146"/>
              <a:gd name="T2" fmla="*/ 1306 w 2114"/>
              <a:gd name="T3" fmla="*/ 61 h 1146"/>
              <a:gd name="T4" fmla="*/ 1085 w 2114"/>
              <a:gd name="T5" fmla="*/ 61 h 1146"/>
              <a:gd name="T6" fmla="*/ 0 w 2114"/>
              <a:gd name="T7" fmla="*/ 1146 h 1146"/>
              <a:gd name="T8" fmla="*/ 2114 w 2114"/>
              <a:gd name="T9" fmla="*/ 1146 h 1146"/>
              <a:gd name="T10" fmla="*/ 2114 w 2114"/>
              <a:gd name="T11" fmla="*/ 869 h 1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14" h="1146">
                <a:moveTo>
                  <a:pt x="2114" y="869"/>
                </a:moveTo>
                <a:cubicBezTo>
                  <a:pt x="1306" y="61"/>
                  <a:pt x="1306" y="61"/>
                  <a:pt x="1306" y="61"/>
                </a:cubicBezTo>
                <a:cubicBezTo>
                  <a:pt x="1245" y="0"/>
                  <a:pt x="1146" y="0"/>
                  <a:pt x="1085" y="61"/>
                </a:cubicBezTo>
                <a:cubicBezTo>
                  <a:pt x="0" y="1146"/>
                  <a:pt x="0" y="1146"/>
                  <a:pt x="0" y="1146"/>
                </a:cubicBezTo>
                <a:cubicBezTo>
                  <a:pt x="2114" y="1146"/>
                  <a:pt x="2114" y="1146"/>
                  <a:pt x="2114" y="1146"/>
                </a:cubicBezTo>
                <a:lnTo>
                  <a:pt x="2114" y="869"/>
                </a:ln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85C50D-2AD0-37F1-6186-64FDA03CDB34}"/>
              </a:ext>
            </a:extLst>
          </p:cNvPr>
          <p:cNvSpPr/>
          <p:nvPr userDrawn="1"/>
        </p:nvSpPr>
        <p:spPr>
          <a:xfrm rot="2700000">
            <a:off x="7798710" y="-28189"/>
            <a:ext cx="6936059" cy="4323614"/>
          </a:xfrm>
          <a:custGeom>
            <a:avLst/>
            <a:gdLst>
              <a:gd name="connsiteX0" fmla="*/ 0 w 6936059"/>
              <a:gd name="connsiteY0" fmla="*/ 2612445 h 4323614"/>
              <a:gd name="connsiteX1" fmla="*/ 2612445 w 6936059"/>
              <a:gd name="connsiteY1" fmla="*/ 0 h 4323614"/>
              <a:gd name="connsiteX2" fmla="*/ 6936059 w 6936059"/>
              <a:gd name="connsiteY2" fmla="*/ 4323614 h 4323614"/>
              <a:gd name="connsiteX3" fmla="*/ 492439 w 6936059"/>
              <a:gd name="connsiteY3" fmla="*/ 4323614 h 4323614"/>
              <a:gd name="connsiteX4" fmla="*/ 0 w 6936059"/>
              <a:gd name="connsiteY4" fmla="*/ 3831175 h 432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6059" h="4323614">
                <a:moveTo>
                  <a:pt x="0" y="2612445"/>
                </a:moveTo>
                <a:lnTo>
                  <a:pt x="2612445" y="0"/>
                </a:lnTo>
                <a:lnTo>
                  <a:pt x="6936059" y="4323614"/>
                </a:lnTo>
                <a:lnTo>
                  <a:pt x="492439" y="4323614"/>
                </a:lnTo>
                <a:cubicBezTo>
                  <a:pt x="220472" y="4323614"/>
                  <a:pt x="1" y="4103142"/>
                  <a:pt x="0" y="3831175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FF7F7C58-163F-1881-E4D5-96FE1EF56D83}"/>
              </a:ext>
            </a:extLst>
          </p:cNvPr>
          <p:cNvSpPr>
            <a:spLocks/>
          </p:cNvSpPr>
          <p:nvPr userDrawn="1"/>
        </p:nvSpPr>
        <p:spPr bwMode="auto">
          <a:xfrm>
            <a:off x="6511925" y="737524"/>
            <a:ext cx="5368925" cy="5368925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rgbClr val="005587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B7ADD5B-1EFD-EE84-83C7-4F7CA369A2B9}"/>
              </a:ext>
            </a:extLst>
          </p:cNvPr>
          <p:cNvSpPr/>
          <p:nvPr userDrawn="1"/>
        </p:nvSpPr>
        <p:spPr>
          <a:xfrm rot="2700000">
            <a:off x="9656180" y="878325"/>
            <a:ext cx="4632172" cy="5087323"/>
          </a:xfrm>
          <a:custGeom>
            <a:avLst/>
            <a:gdLst>
              <a:gd name="connsiteX0" fmla="*/ 0 w 4724357"/>
              <a:gd name="connsiteY0" fmla="*/ 0 h 4945592"/>
              <a:gd name="connsiteX1" fmla="*/ 4724357 w 4724357"/>
              <a:gd name="connsiteY1" fmla="*/ 4724357 h 4945592"/>
              <a:gd name="connsiteX2" fmla="*/ 4503122 w 4724357"/>
              <a:gd name="connsiteY2" fmla="*/ 4945592 h 4945592"/>
              <a:gd name="connsiteX3" fmla="*/ 607510 w 4724357"/>
              <a:gd name="connsiteY3" fmla="*/ 4945592 h 4945592"/>
              <a:gd name="connsiteX4" fmla="*/ 0 w 4724357"/>
              <a:gd name="connsiteY4" fmla="*/ 4338082 h 4945592"/>
              <a:gd name="connsiteX0" fmla="*/ 4724357 w 4815797"/>
              <a:gd name="connsiteY0" fmla="*/ 4724357 h 4945592"/>
              <a:gd name="connsiteX1" fmla="*/ 4503122 w 4815797"/>
              <a:gd name="connsiteY1" fmla="*/ 4945592 h 4945592"/>
              <a:gd name="connsiteX2" fmla="*/ 607510 w 4815797"/>
              <a:gd name="connsiteY2" fmla="*/ 4945592 h 4945592"/>
              <a:gd name="connsiteX3" fmla="*/ 0 w 4815797"/>
              <a:gd name="connsiteY3" fmla="*/ 4338082 h 4945592"/>
              <a:gd name="connsiteX4" fmla="*/ 0 w 4815797"/>
              <a:gd name="connsiteY4" fmla="*/ 0 h 4945592"/>
              <a:gd name="connsiteX5" fmla="*/ 4815797 w 4815797"/>
              <a:gd name="connsiteY5" fmla="*/ 4815797 h 4945592"/>
              <a:gd name="connsiteX0" fmla="*/ 4724357 w 4724357"/>
              <a:gd name="connsiteY0" fmla="*/ 4724357 h 4945592"/>
              <a:gd name="connsiteX1" fmla="*/ 4503122 w 4724357"/>
              <a:gd name="connsiteY1" fmla="*/ 4945592 h 4945592"/>
              <a:gd name="connsiteX2" fmla="*/ 607510 w 4724357"/>
              <a:gd name="connsiteY2" fmla="*/ 4945592 h 4945592"/>
              <a:gd name="connsiteX3" fmla="*/ 0 w 4724357"/>
              <a:gd name="connsiteY3" fmla="*/ 4338082 h 4945592"/>
              <a:gd name="connsiteX4" fmla="*/ 0 w 4724357"/>
              <a:gd name="connsiteY4" fmla="*/ 0 h 4945592"/>
              <a:gd name="connsiteX0" fmla="*/ 4503122 w 4503122"/>
              <a:gd name="connsiteY0" fmla="*/ 4945592 h 4945592"/>
              <a:gd name="connsiteX1" fmla="*/ 607510 w 4503122"/>
              <a:gd name="connsiteY1" fmla="*/ 4945592 h 4945592"/>
              <a:gd name="connsiteX2" fmla="*/ 0 w 4503122"/>
              <a:gd name="connsiteY2" fmla="*/ 4338082 h 4945592"/>
              <a:gd name="connsiteX3" fmla="*/ 0 w 4503122"/>
              <a:gd name="connsiteY3" fmla="*/ 0 h 494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3122" h="4945592">
                <a:moveTo>
                  <a:pt x="4503122" y="4945592"/>
                </a:moveTo>
                <a:lnTo>
                  <a:pt x="607510" y="4945592"/>
                </a:lnTo>
                <a:cubicBezTo>
                  <a:pt x="271991" y="4945592"/>
                  <a:pt x="0" y="4673601"/>
                  <a:pt x="0" y="4338082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1037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F39C5FB-65B4-C908-855D-2728400F9E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25B56EBA-448E-C7D0-100C-AD7974D3F9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7029069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952327-FD57-A506-881F-6BEC092B82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7029069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5258D62-E26A-940F-71AE-1DB6692774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06884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6E6678B-F1D2-BAA4-8C13-157EDC25793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DB5FAB4-46B6-F50F-3686-3A652C917D56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E6A72EF-4ACE-0FB5-78CD-8CB5D25D38CD}"/>
              </a:ext>
            </a:extLst>
          </p:cNvPr>
          <p:cNvSpPr/>
          <p:nvPr userDrawn="1"/>
        </p:nvSpPr>
        <p:spPr>
          <a:xfrm rot="900000">
            <a:off x="8679642" y="590047"/>
            <a:ext cx="1209408" cy="6535813"/>
          </a:xfrm>
          <a:custGeom>
            <a:avLst/>
            <a:gdLst>
              <a:gd name="connsiteX0" fmla="*/ 482835 w 1209408"/>
              <a:gd name="connsiteY0" fmla="*/ 12286 h 6535813"/>
              <a:gd name="connsiteX1" fmla="*/ 604704 w 1209408"/>
              <a:gd name="connsiteY1" fmla="*/ 0 h 6535813"/>
              <a:gd name="connsiteX2" fmla="*/ 1209408 w 1209408"/>
              <a:gd name="connsiteY2" fmla="*/ 604704 h 6535813"/>
              <a:gd name="connsiteX3" fmla="*/ 1209408 w 1209408"/>
              <a:gd name="connsiteY3" fmla="*/ 6211754 h 6535813"/>
              <a:gd name="connsiteX4" fmla="*/ 0 w 1209408"/>
              <a:gd name="connsiteY4" fmla="*/ 6535813 h 6535813"/>
              <a:gd name="connsiteX5" fmla="*/ 0 w 1209408"/>
              <a:gd name="connsiteY5" fmla="*/ 604704 h 6535813"/>
              <a:gd name="connsiteX6" fmla="*/ 482835 w 1209408"/>
              <a:gd name="connsiteY6" fmla="*/ 12286 h 653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9408" h="6535813">
                <a:moveTo>
                  <a:pt x="482835" y="12286"/>
                </a:moveTo>
                <a:cubicBezTo>
                  <a:pt x="522200" y="4230"/>
                  <a:pt x="562958" y="0"/>
                  <a:pt x="604704" y="0"/>
                </a:cubicBezTo>
                <a:cubicBezTo>
                  <a:pt x="938673" y="0"/>
                  <a:pt x="1209408" y="270735"/>
                  <a:pt x="1209408" y="604704"/>
                </a:cubicBezTo>
                <a:lnTo>
                  <a:pt x="1209408" y="6211754"/>
                </a:lnTo>
                <a:lnTo>
                  <a:pt x="0" y="6535813"/>
                </a:lnTo>
                <a:lnTo>
                  <a:pt x="0" y="604704"/>
                </a:lnTo>
                <a:cubicBezTo>
                  <a:pt x="0" y="312481"/>
                  <a:pt x="207282" y="68672"/>
                  <a:pt x="482835" y="12286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A260F01-821A-E0DB-A6B1-B66100FC4906}"/>
              </a:ext>
            </a:extLst>
          </p:cNvPr>
          <p:cNvSpPr/>
          <p:nvPr userDrawn="1"/>
        </p:nvSpPr>
        <p:spPr>
          <a:xfrm rot="900000">
            <a:off x="10876535" y="3369355"/>
            <a:ext cx="737236" cy="3646170"/>
          </a:xfrm>
          <a:custGeom>
            <a:avLst/>
            <a:gdLst>
              <a:gd name="connsiteX0" fmla="*/ 294329 w 737236"/>
              <a:gd name="connsiteY0" fmla="*/ 7489 h 3646170"/>
              <a:gd name="connsiteX1" fmla="*/ 368618 w 737236"/>
              <a:gd name="connsiteY1" fmla="*/ 0 h 3646170"/>
              <a:gd name="connsiteX2" fmla="*/ 737236 w 737236"/>
              <a:gd name="connsiteY2" fmla="*/ 368618 h 3646170"/>
              <a:gd name="connsiteX3" fmla="*/ 737235 w 737236"/>
              <a:gd name="connsiteY3" fmla="*/ 3448629 h 3646170"/>
              <a:gd name="connsiteX4" fmla="*/ 0 w 737236"/>
              <a:gd name="connsiteY4" fmla="*/ 3646170 h 3646170"/>
              <a:gd name="connsiteX5" fmla="*/ 0 w 737236"/>
              <a:gd name="connsiteY5" fmla="*/ 368618 h 3646170"/>
              <a:gd name="connsiteX6" fmla="*/ 294329 w 737236"/>
              <a:gd name="connsiteY6" fmla="*/ 7489 h 364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7236" h="3646170">
                <a:moveTo>
                  <a:pt x="294329" y="7489"/>
                </a:moveTo>
                <a:cubicBezTo>
                  <a:pt x="318325" y="2579"/>
                  <a:pt x="343170" y="0"/>
                  <a:pt x="368618" y="0"/>
                </a:cubicBezTo>
                <a:cubicBezTo>
                  <a:pt x="572200" y="0"/>
                  <a:pt x="737236" y="165036"/>
                  <a:pt x="737236" y="368618"/>
                </a:cubicBezTo>
                <a:lnTo>
                  <a:pt x="737235" y="3448629"/>
                </a:lnTo>
                <a:lnTo>
                  <a:pt x="0" y="3646170"/>
                </a:lnTo>
                <a:lnTo>
                  <a:pt x="0" y="368618"/>
                </a:lnTo>
                <a:cubicBezTo>
                  <a:pt x="1" y="190484"/>
                  <a:pt x="126356" y="41861"/>
                  <a:pt x="294329" y="748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67CF9C9-26E4-4CCA-2489-EA1403AF749A}"/>
              </a:ext>
            </a:extLst>
          </p:cNvPr>
          <p:cNvCxnSpPr>
            <a:cxnSpLocks/>
          </p:cNvCxnSpPr>
          <p:nvPr userDrawn="1"/>
        </p:nvCxnSpPr>
        <p:spPr>
          <a:xfrm rot="900000" flipH="1">
            <a:off x="9695751" y="-132832"/>
            <a:ext cx="0" cy="711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6662C6-F32D-D286-E981-FFF7563738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16112" y="990600"/>
            <a:ext cx="1572166" cy="58674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0268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F44744A-7370-45C0-CB74-88A57CF6C18C}"/>
              </a:ext>
            </a:extLst>
          </p:cNvPr>
          <p:cNvSpPr/>
          <p:nvPr userDrawn="1"/>
        </p:nvSpPr>
        <p:spPr>
          <a:xfrm rot="2700000">
            <a:off x="8404848" y="-676776"/>
            <a:ext cx="832104" cy="2612447"/>
          </a:xfrm>
          <a:custGeom>
            <a:avLst/>
            <a:gdLst>
              <a:gd name="connsiteX0" fmla="*/ 0 w 832104"/>
              <a:gd name="connsiteY0" fmla="*/ 832103 h 2612447"/>
              <a:gd name="connsiteX1" fmla="*/ 832104 w 832104"/>
              <a:gd name="connsiteY1" fmla="*/ 0 h 2612447"/>
              <a:gd name="connsiteX2" fmla="*/ 832104 w 832104"/>
              <a:gd name="connsiteY2" fmla="*/ 2196395 h 2612447"/>
              <a:gd name="connsiteX3" fmla="*/ 416052 w 832104"/>
              <a:gd name="connsiteY3" fmla="*/ 2612447 h 2612447"/>
              <a:gd name="connsiteX4" fmla="*/ 0 w 832104"/>
              <a:gd name="connsiteY4" fmla="*/ 2196395 h 261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2104" h="2612447">
                <a:moveTo>
                  <a:pt x="0" y="832103"/>
                </a:moveTo>
                <a:lnTo>
                  <a:pt x="832104" y="0"/>
                </a:lnTo>
                <a:lnTo>
                  <a:pt x="832104" y="2196395"/>
                </a:lnTo>
                <a:cubicBezTo>
                  <a:pt x="832104" y="2426174"/>
                  <a:pt x="645831" y="2612447"/>
                  <a:pt x="416052" y="2612447"/>
                </a:cubicBezTo>
                <a:cubicBezTo>
                  <a:pt x="186273" y="2612447"/>
                  <a:pt x="0" y="2426174"/>
                  <a:pt x="0" y="2196395"/>
                </a:cubicBez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EF4E02D-F7F2-65BC-9A85-BBCF1CEAB9A4}"/>
              </a:ext>
            </a:extLst>
          </p:cNvPr>
          <p:cNvSpPr/>
          <p:nvPr userDrawn="1"/>
        </p:nvSpPr>
        <p:spPr>
          <a:xfrm rot="13500000" flipH="1">
            <a:off x="10884124" y="1958347"/>
            <a:ext cx="1426821" cy="2469493"/>
          </a:xfrm>
          <a:custGeom>
            <a:avLst/>
            <a:gdLst>
              <a:gd name="connsiteX0" fmla="*/ 0 w 1867898"/>
              <a:gd name="connsiteY0" fmla="*/ 3232895 h 3232895"/>
              <a:gd name="connsiteX1" fmla="*/ 0 w 1867898"/>
              <a:gd name="connsiteY1" fmla="*/ 933949 h 3232895"/>
              <a:gd name="connsiteX2" fmla="*/ 933949 w 1867898"/>
              <a:gd name="connsiteY2" fmla="*/ 0 h 3232895"/>
              <a:gd name="connsiteX3" fmla="*/ 1867898 w 1867898"/>
              <a:gd name="connsiteY3" fmla="*/ 933949 h 3232895"/>
              <a:gd name="connsiteX4" fmla="*/ 1867898 w 1867898"/>
              <a:gd name="connsiteY4" fmla="*/ 1797199 h 3232895"/>
              <a:gd name="connsiteX5" fmla="*/ 432202 w 1867898"/>
              <a:gd name="connsiteY5" fmla="*/ 3232895 h 3232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67898" h="3232895">
                <a:moveTo>
                  <a:pt x="0" y="3232895"/>
                </a:moveTo>
                <a:lnTo>
                  <a:pt x="0" y="933949"/>
                </a:lnTo>
                <a:cubicBezTo>
                  <a:pt x="0" y="418143"/>
                  <a:pt x="418143" y="0"/>
                  <a:pt x="933949" y="0"/>
                </a:cubicBezTo>
                <a:cubicBezTo>
                  <a:pt x="1449755" y="0"/>
                  <a:pt x="1867898" y="418143"/>
                  <a:pt x="1867898" y="933949"/>
                </a:cubicBezTo>
                <a:lnTo>
                  <a:pt x="1867898" y="1797199"/>
                </a:lnTo>
                <a:lnTo>
                  <a:pt x="432202" y="32328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C069A87-C164-C434-5CEF-4ACD0B6BF8B1}"/>
              </a:ext>
            </a:extLst>
          </p:cNvPr>
          <p:cNvSpPr/>
          <p:nvPr userDrawn="1"/>
        </p:nvSpPr>
        <p:spPr>
          <a:xfrm rot="13500000" flipH="1">
            <a:off x="10658974" y="1045214"/>
            <a:ext cx="830027" cy="4013802"/>
          </a:xfrm>
          <a:custGeom>
            <a:avLst/>
            <a:gdLst>
              <a:gd name="connsiteX0" fmla="*/ 0 w 1086616"/>
              <a:gd name="connsiteY0" fmla="*/ 5254600 h 5254600"/>
              <a:gd name="connsiteX1" fmla="*/ 0 w 1086616"/>
              <a:gd name="connsiteY1" fmla="*/ 543308 h 5254600"/>
              <a:gd name="connsiteX2" fmla="*/ 543308 w 1086616"/>
              <a:gd name="connsiteY2" fmla="*/ 0 h 5254600"/>
              <a:gd name="connsiteX3" fmla="*/ 1086616 w 1086616"/>
              <a:gd name="connsiteY3" fmla="*/ 543308 h 5254600"/>
              <a:gd name="connsiteX4" fmla="*/ 1086615 w 1086616"/>
              <a:gd name="connsiteY4" fmla="*/ 4167985 h 525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616" h="5254600">
                <a:moveTo>
                  <a:pt x="0" y="5254600"/>
                </a:moveTo>
                <a:lnTo>
                  <a:pt x="0" y="543308"/>
                </a:lnTo>
                <a:cubicBezTo>
                  <a:pt x="0" y="243247"/>
                  <a:pt x="243247" y="0"/>
                  <a:pt x="543308" y="0"/>
                </a:cubicBezTo>
                <a:cubicBezTo>
                  <a:pt x="843369" y="0"/>
                  <a:pt x="1086616" y="243247"/>
                  <a:pt x="1086616" y="543308"/>
                </a:cubicBezTo>
                <a:lnTo>
                  <a:pt x="1086615" y="416798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8AFE06D-6874-9BC8-8B4C-CD00FFBB1819}"/>
              </a:ext>
            </a:extLst>
          </p:cNvPr>
          <p:cNvSpPr/>
          <p:nvPr userDrawn="1"/>
        </p:nvSpPr>
        <p:spPr>
          <a:xfrm rot="13500000" flipH="1">
            <a:off x="8610866" y="-919718"/>
            <a:ext cx="3320094" cy="4877247"/>
          </a:xfrm>
          <a:custGeom>
            <a:avLst/>
            <a:gdLst>
              <a:gd name="connsiteX0" fmla="*/ 2551539 w 4346444"/>
              <a:gd name="connsiteY0" fmla="*/ 6384965 h 6384965"/>
              <a:gd name="connsiteX1" fmla="*/ 0 w 4346444"/>
              <a:gd name="connsiteY1" fmla="*/ 3833426 h 6384965"/>
              <a:gd name="connsiteX2" fmla="*/ 0 w 4346444"/>
              <a:gd name="connsiteY2" fmla="*/ 2173222 h 6384965"/>
              <a:gd name="connsiteX3" fmla="*/ 2173222 w 4346444"/>
              <a:gd name="connsiteY3" fmla="*/ 0 h 6384965"/>
              <a:gd name="connsiteX4" fmla="*/ 4346444 w 4346444"/>
              <a:gd name="connsiteY4" fmla="*/ 2173222 h 6384965"/>
              <a:gd name="connsiteX5" fmla="*/ 4346444 w 4346444"/>
              <a:gd name="connsiteY5" fmla="*/ 4590060 h 6384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46444" h="6384965">
                <a:moveTo>
                  <a:pt x="2551539" y="6384965"/>
                </a:moveTo>
                <a:lnTo>
                  <a:pt x="0" y="3833426"/>
                </a:lnTo>
                <a:lnTo>
                  <a:pt x="0" y="2173222"/>
                </a:lnTo>
                <a:cubicBezTo>
                  <a:pt x="0" y="972985"/>
                  <a:pt x="972985" y="0"/>
                  <a:pt x="2173222" y="0"/>
                </a:cubicBezTo>
                <a:cubicBezTo>
                  <a:pt x="3373459" y="0"/>
                  <a:pt x="4346444" y="972985"/>
                  <a:pt x="4346444" y="2173222"/>
                </a:cubicBezTo>
                <a:lnTo>
                  <a:pt x="4346444" y="45900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405D1E-7C07-65A2-75A2-7E9EF6B6049B}"/>
              </a:ext>
            </a:extLst>
          </p:cNvPr>
          <p:cNvSpPr/>
          <p:nvPr userDrawn="1"/>
        </p:nvSpPr>
        <p:spPr>
          <a:xfrm rot="13500000" flipH="1">
            <a:off x="11146606" y="1933863"/>
            <a:ext cx="527807" cy="2759754"/>
          </a:xfrm>
          <a:custGeom>
            <a:avLst/>
            <a:gdLst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0 w 690970"/>
              <a:gd name="connsiteY6" fmla="*/ 361288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123701 w 690970"/>
              <a:gd name="connsiteY6" fmla="*/ 3489184 h 3612885"/>
              <a:gd name="connsiteX7" fmla="*/ 0 w 690970"/>
              <a:gd name="connsiteY7" fmla="*/ 3612885 h 3612885"/>
              <a:gd name="connsiteX0" fmla="*/ 123701 w 690970"/>
              <a:gd name="connsiteY0" fmla="*/ 3489184 h 3612885"/>
              <a:gd name="connsiteX1" fmla="*/ 0 w 690970"/>
              <a:gd name="connsiteY1" fmla="*/ 3612885 h 3612885"/>
              <a:gd name="connsiteX2" fmla="*/ 0 w 690970"/>
              <a:gd name="connsiteY2" fmla="*/ 345485 h 3612885"/>
              <a:gd name="connsiteX3" fmla="*/ 345485 w 690970"/>
              <a:gd name="connsiteY3" fmla="*/ 0 h 3612885"/>
              <a:gd name="connsiteX4" fmla="*/ 690970 w 690970"/>
              <a:gd name="connsiteY4" fmla="*/ 345485 h 3612885"/>
              <a:gd name="connsiteX5" fmla="*/ 690970 w 690970"/>
              <a:gd name="connsiteY5" fmla="*/ 2921915 h 3612885"/>
              <a:gd name="connsiteX6" fmla="*/ 572714 w 690970"/>
              <a:gd name="connsiteY6" fmla="*/ 3040171 h 3612885"/>
              <a:gd name="connsiteX7" fmla="*/ 215141 w 690970"/>
              <a:gd name="connsiteY7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215141 w 690970"/>
              <a:gd name="connsiteY6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215141 w 690970"/>
              <a:gd name="connsiteY5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970" h="3612885">
                <a:moveTo>
                  <a:pt x="0" y="3612885"/>
                </a:moveTo>
                <a:lnTo>
                  <a:pt x="0" y="345485"/>
                </a:lnTo>
                <a:cubicBezTo>
                  <a:pt x="0" y="154679"/>
                  <a:pt x="154679" y="0"/>
                  <a:pt x="345485" y="0"/>
                </a:cubicBezTo>
                <a:cubicBezTo>
                  <a:pt x="536291" y="0"/>
                  <a:pt x="690970" y="154679"/>
                  <a:pt x="690970" y="345485"/>
                </a:cubicBezTo>
                <a:lnTo>
                  <a:pt x="690970" y="2921915"/>
                </a:ln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1425698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7711C25-1E32-D856-3159-AA194B0AE59F}"/>
              </a:ext>
            </a:extLst>
          </p:cNvPr>
          <p:cNvSpPr/>
          <p:nvPr userDrawn="1"/>
        </p:nvSpPr>
        <p:spPr>
          <a:xfrm rot="-2700000">
            <a:off x="7890787" y="-1101899"/>
            <a:ext cx="3375142" cy="3358615"/>
          </a:xfrm>
          <a:custGeom>
            <a:avLst/>
            <a:gdLst>
              <a:gd name="connsiteX0" fmla="*/ 824841 w 3375142"/>
              <a:gd name="connsiteY0" fmla="*/ 0 h 3358615"/>
              <a:gd name="connsiteX1" fmla="*/ 3375142 w 3375142"/>
              <a:gd name="connsiteY1" fmla="*/ 2550301 h 3358615"/>
              <a:gd name="connsiteX2" fmla="*/ 3375142 w 3375142"/>
              <a:gd name="connsiteY2" fmla="*/ 2834570 h 3358615"/>
              <a:gd name="connsiteX3" fmla="*/ 2851097 w 3375142"/>
              <a:gd name="connsiteY3" fmla="*/ 3358615 h 3358615"/>
              <a:gd name="connsiteX4" fmla="*/ 524045 w 3375142"/>
              <a:gd name="connsiteY4" fmla="*/ 3358615 h 3358615"/>
              <a:gd name="connsiteX5" fmla="*/ 0 w 3375142"/>
              <a:gd name="connsiteY5" fmla="*/ 2834570 h 3358615"/>
              <a:gd name="connsiteX6" fmla="*/ 0 w 3375142"/>
              <a:gd name="connsiteY6" fmla="*/ 524045 h 3358615"/>
              <a:gd name="connsiteX7" fmla="*/ 524045 w 3375142"/>
              <a:gd name="connsiteY7" fmla="*/ 0 h 3358615"/>
              <a:gd name="connsiteX0" fmla="*/ 3375142 w 3466582"/>
              <a:gd name="connsiteY0" fmla="*/ 2550301 h 3358615"/>
              <a:gd name="connsiteX1" fmla="*/ 3375142 w 3466582"/>
              <a:gd name="connsiteY1" fmla="*/ 2834570 h 3358615"/>
              <a:gd name="connsiteX2" fmla="*/ 2851097 w 3466582"/>
              <a:gd name="connsiteY2" fmla="*/ 3358615 h 3358615"/>
              <a:gd name="connsiteX3" fmla="*/ 524045 w 3466582"/>
              <a:gd name="connsiteY3" fmla="*/ 3358615 h 3358615"/>
              <a:gd name="connsiteX4" fmla="*/ 0 w 3466582"/>
              <a:gd name="connsiteY4" fmla="*/ 2834570 h 3358615"/>
              <a:gd name="connsiteX5" fmla="*/ 0 w 3466582"/>
              <a:gd name="connsiteY5" fmla="*/ 524045 h 3358615"/>
              <a:gd name="connsiteX6" fmla="*/ 524045 w 3466582"/>
              <a:gd name="connsiteY6" fmla="*/ 0 h 3358615"/>
              <a:gd name="connsiteX7" fmla="*/ 824841 w 3466582"/>
              <a:gd name="connsiteY7" fmla="*/ 0 h 3358615"/>
              <a:gd name="connsiteX8" fmla="*/ 3466582 w 3466582"/>
              <a:gd name="connsiteY8" fmla="*/ 2641741 h 3358615"/>
              <a:gd name="connsiteX0" fmla="*/ 3375142 w 3375142"/>
              <a:gd name="connsiteY0" fmla="*/ 2550301 h 3358615"/>
              <a:gd name="connsiteX1" fmla="*/ 3375142 w 3375142"/>
              <a:gd name="connsiteY1" fmla="*/ 2834570 h 3358615"/>
              <a:gd name="connsiteX2" fmla="*/ 2851097 w 3375142"/>
              <a:gd name="connsiteY2" fmla="*/ 3358615 h 3358615"/>
              <a:gd name="connsiteX3" fmla="*/ 524045 w 3375142"/>
              <a:gd name="connsiteY3" fmla="*/ 3358615 h 3358615"/>
              <a:gd name="connsiteX4" fmla="*/ 0 w 3375142"/>
              <a:gd name="connsiteY4" fmla="*/ 2834570 h 3358615"/>
              <a:gd name="connsiteX5" fmla="*/ 0 w 3375142"/>
              <a:gd name="connsiteY5" fmla="*/ 524045 h 3358615"/>
              <a:gd name="connsiteX6" fmla="*/ 524045 w 3375142"/>
              <a:gd name="connsiteY6" fmla="*/ 0 h 3358615"/>
              <a:gd name="connsiteX7" fmla="*/ 824841 w 3375142"/>
              <a:gd name="connsiteY7" fmla="*/ 0 h 3358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75142" h="3358615">
                <a:moveTo>
                  <a:pt x="3375142" y="2550301"/>
                </a:moveTo>
                <a:lnTo>
                  <a:pt x="3375142" y="2834570"/>
                </a:lnTo>
                <a:cubicBezTo>
                  <a:pt x="3375142" y="3123992"/>
                  <a:pt x="3140519" y="3358615"/>
                  <a:pt x="2851097" y="3358615"/>
                </a:cubicBezTo>
                <a:lnTo>
                  <a:pt x="524045" y="3358615"/>
                </a:lnTo>
                <a:cubicBezTo>
                  <a:pt x="234623" y="3358615"/>
                  <a:pt x="0" y="3123992"/>
                  <a:pt x="0" y="2834570"/>
                </a:cubicBezTo>
                <a:lnTo>
                  <a:pt x="0" y="524045"/>
                </a:lnTo>
                <a:cubicBezTo>
                  <a:pt x="0" y="234623"/>
                  <a:pt x="234623" y="0"/>
                  <a:pt x="524045" y="0"/>
                </a:cubicBezTo>
                <a:lnTo>
                  <a:pt x="824841" y="0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C9A477D-265C-9608-FDB2-0CC08A6EB248}"/>
              </a:ext>
            </a:extLst>
          </p:cNvPr>
          <p:cNvSpPr/>
          <p:nvPr userDrawn="1"/>
        </p:nvSpPr>
        <p:spPr>
          <a:xfrm rot="-2700000">
            <a:off x="8628149" y="-1411464"/>
            <a:ext cx="3721275" cy="4628377"/>
          </a:xfrm>
          <a:custGeom>
            <a:avLst/>
            <a:gdLst>
              <a:gd name="connsiteX0" fmla="*/ 823095 w 3721275"/>
              <a:gd name="connsiteY0" fmla="*/ 0 h 4628377"/>
              <a:gd name="connsiteX1" fmla="*/ 3721275 w 3721275"/>
              <a:gd name="connsiteY1" fmla="*/ 2898181 h 4628377"/>
              <a:gd name="connsiteX2" fmla="*/ 1991079 w 3721275"/>
              <a:gd name="connsiteY2" fmla="*/ 4628377 h 4628377"/>
              <a:gd name="connsiteX3" fmla="*/ 648536 w 3721275"/>
              <a:gd name="connsiteY3" fmla="*/ 4628377 h 4628377"/>
              <a:gd name="connsiteX4" fmla="*/ 0 w 3721275"/>
              <a:gd name="connsiteY4" fmla="*/ 3979841 h 4628377"/>
              <a:gd name="connsiteX5" fmla="*/ 0 w 3721275"/>
              <a:gd name="connsiteY5" fmla="*/ 648536 h 4628377"/>
              <a:gd name="connsiteX6" fmla="*/ 648536 w 3721275"/>
              <a:gd name="connsiteY6" fmla="*/ 0 h 4628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21275" h="4628377">
                <a:moveTo>
                  <a:pt x="823095" y="0"/>
                </a:moveTo>
                <a:lnTo>
                  <a:pt x="3721275" y="2898181"/>
                </a:lnTo>
                <a:lnTo>
                  <a:pt x="1991079" y="4628377"/>
                </a:lnTo>
                <a:lnTo>
                  <a:pt x="648536" y="4628377"/>
                </a:lnTo>
                <a:cubicBezTo>
                  <a:pt x="290359" y="4628377"/>
                  <a:pt x="0" y="4338018"/>
                  <a:pt x="0" y="3979841"/>
                </a:cubicBezTo>
                <a:lnTo>
                  <a:pt x="0" y="648536"/>
                </a:lnTo>
                <a:cubicBezTo>
                  <a:pt x="0" y="290359"/>
                  <a:pt x="290359" y="0"/>
                  <a:pt x="64853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47624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3076B7C-F202-996E-7DFF-5D02CB251F3F}"/>
              </a:ext>
            </a:extLst>
          </p:cNvPr>
          <p:cNvSpPr/>
          <p:nvPr userDrawn="1"/>
        </p:nvSpPr>
        <p:spPr>
          <a:xfrm rot="2700000">
            <a:off x="10287508" y="-38027"/>
            <a:ext cx="2386306" cy="3251042"/>
          </a:xfrm>
          <a:custGeom>
            <a:avLst/>
            <a:gdLst>
              <a:gd name="connsiteX0" fmla="*/ 0 w 2386306"/>
              <a:gd name="connsiteY0" fmla="*/ 573618 h 3251042"/>
              <a:gd name="connsiteX1" fmla="*/ 573618 w 2386306"/>
              <a:gd name="connsiteY1" fmla="*/ 0 h 3251042"/>
              <a:gd name="connsiteX2" fmla="*/ 2386306 w 2386306"/>
              <a:gd name="connsiteY2" fmla="*/ 1812689 h 3251042"/>
              <a:gd name="connsiteX3" fmla="*/ 2386306 w 2386306"/>
              <a:gd name="connsiteY3" fmla="*/ 2894719 h 3251042"/>
              <a:gd name="connsiteX4" fmla="*/ 2029983 w 2386306"/>
              <a:gd name="connsiteY4" fmla="*/ 3251042 h 3251042"/>
              <a:gd name="connsiteX5" fmla="*/ 356323 w 2386306"/>
              <a:gd name="connsiteY5" fmla="*/ 3251042 h 3251042"/>
              <a:gd name="connsiteX6" fmla="*/ 0 w 2386306"/>
              <a:gd name="connsiteY6" fmla="*/ 2894719 h 3251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86306" h="3251042">
                <a:moveTo>
                  <a:pt x="0" y="573618"/>
                </a:moveTo>
                <a:lnTo>
                  <a:pt x="573618" y="0"/>
                </a:lnTo>
                <a:lnTo>
                  <a:pt x="2386306" y="1812689"/>
                </a:lnTo>
                <a:lnTo>
                  <a:pt x="2386306" y="2894719"/>
                </a:lnTo>
                <a:cubicBezTo>
                  <a:pt x="2386306" y="3091511"/>
                  <a:pt x="2226775" y="3251042"/>
                  <a:pt x="2029983" y="3251042"/>
                </a:cubicBezTo>
                <a:lnTo>
                  <a:pt x="356323" y="3251042"/>
                </a:lnTo>
                <a:cubicBezTo>
                  <a:pt x="159531" y="3251042"/>
                  <a:pt x="0" y="3091511"/>
                  <a:pt x="0" y="2894719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CF6A970-AE29-6F75-C4C8-B187F617CAEC}"/>
              </a:ext>
            </a:extLst>
          </p:cNvPr>
          <p:cNvSpPr/>
          <p:nvPr userDrawn="1"/>
        </p:nvSpPr>
        <p:spPr>
          <a:xfrm rot="2700000">
            <a:off x="10132011" y="1200350"/>
            <a:ext cx="2806378" cy="2807032"/>
          </a:xfrm>
          <a:custGeom>
            <a:avLst/>
            <a:gdLst>
              <a:gd name="connsiteX0" fmla="*/ 93508 w 2806378"/>
              <a:gd name="connsiteY0" fmla="*/ 93507 h 2807032"/>
              <a:gd name="connsiteX1" fmla="*/ 319254 w 2806378"/>
              <a:gd name="connsiteY1" fmla="*/ 0 h 2807032"/>
              <a:gd name="connsiteX2" fmla="*/ 928529 w 2806378"/>
              <a:gd name="connsiteY2" fmla="*/ 0 h 2807032"/>
              <a:gd name="connsiteX3" fmla="*/ 2806378 w 2806378"/>
              <a:gd name="connsiteY3" fmla="*/ 1877849 h 2807032"/>
              <a:gd name="connsiteX4" fmla="*/ 2806378 w 2806378"/>
              <a:gd name="connsiteY4" fmla="*/ 2487778 h 2807032"/>
              <a:gd name="connsiteX5" fmla="*/ 2487124 w 2806378"/>
              <a:gd name="connsiteY5" fmla="*/ 2807032 h 2807032"/>
              <a:gd name="connsiteX6" fmla="*/ 319254 w 2806378"/>
              <a:gd name="connsiteY6" fmla="*/ 2807032 h 2807032"/>
              <a:gd name="connsiteX7" fmla="*/ 0 w 2806378"/>
              <a:gd name="connsiteY7" fmla="*/ 2487778 h 2807032"/>
              <a:gd name="connsiteX8" fmla="*/ 0 w 2806378"/>
              <a:gd name="connsiteY8" fmla="*/ 319254 h 2807032"/>
              <a:gd name="connsiteX9" fmla="*/ 93508 w 2806378"/>
              <a:gd name="connsiteY9" fmla="*/ 93507 h 2807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06378" h="2807032">
                <a:moveTo>
                  <a:pt x="93508" y="93507"/>
                </a:moveTo>
                <a:cubicBezTo>
                  <a:pt x="151281" y="35733"/>
                  <a:pt x="231095" y="0"/>
                  <a:pt x="319254" y="0"/>
                </a:cubicBezTo>
                <a:lnTo>
                  <a:pt x="928529" y="0"/>
                </a:lnTo>
                <a:lnTo>
                  <a:pt x="2806378" y="1877849"/>
                </a:lnTo>
                <a:lnTo>
                  <a:pt x="2806378" y="2487778"/>
                </a:lnTo>
                <a:cubicBezTo>
                  <a:pt x="2806378" y="2664097"/>
                  <a:pt x="2663443" y="2807032"/>
                  <a:pt x="2487124" y="2807032"/>
                </a:cubicBezTo>
                <a:lnTo>
                  <a:pt x="319254" y="2807032"/>
                </a:lnTo>
                <a:cubicBezTo>
                  <a:pt x="142935" y="2807032"/>
                  <a:pt x="0" y="2664097"/>
                  <a:pt x="0" y="2487778"/>
                </a:cubicBezTo>
                <a:lnTo>
                  <a:pt x="0" y="319254"/>
                </a:lnTo>
                <a:cubicBezTo>
                  <a:pt x="0" y="231094"/>
                  <a:pt x="35734" y="151281"/>
                  <a:pt x="93508" y="9350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C595510-407A-9229-034C-83CA1804EAD4}"/>
              </a:ext>
            </a:extLst>
          </p:cNvPr>
          <p:cNvSpPr/>
          <p:nvPr userDrawn="1"/>
        </p:nvSpPr>
        <p:spPr>
          <a:xfrm rot="2700000">
            <a:off x="10839088" y="1250954"/>
            <a:ext cx="2705824" cy="2705824"/>
          </a:xfrm>
          <a:custGeom>
            <a:avLst/>
            <a:gdLst>
              <a:gd name="connsiteX0" fmla="*/ 0 w 2705824"/>
              <a:gd name="connsiteY0" fmla="*/ 0 h 2705824"/>
              <a:gd name="connsiteX1" fmla="*/ 2705824 w 2705824"/>
              <a:gd name="connsiteY1" fmla="*/ 2705824 h 2705824"/>
              <a:gd name="connsiteX2" fmla="*/ 306766 w 2705824"/>
              <a:gd name="connsiteY2" fmla="*/ 2705824 h 2705824"/>
              <a:gd name="connsiteX3" fmla="*/ 0 w 2705824"/>
              <a:gd name="connsiteY3" fmla="*/ 2399058 h 2705824"/>
              <a:gd name="connsiteX0" fmla="*/ 2705824 w 2797264"/>
              <a:gd name="connsiteY0" fmla="*/ 2705824 h 2797264"/>
              <a:gd name="connsiteX1" fmla="*/ 306766 w 2797264"/>
              <a:gd name="connsiteY1" fmla="*/ 2705824 h 2797264"/>
              <a:gd name="connsiteX2" fmla="*/ 0 w 2797264"/>
              <a:gd name="connsiteY2" fmla="*/ 2399058 h 2797264"/>
              <a:gd name="connsiteX3" fmla="*/ 0 w 2797264"/>
              <a:gd name="connsiteY3" fmla="*/ 0 h 2797264"/>
              <a:gd name="connsiteX4" fmla="*/ 2797264 w 2797264"/>
              <a:gd name="connsiteY4" fmla="*/ 2797264 h 2797264"/>
              <a:gd name="connsiteX0" fmla="*/ 2705824 w 2705824"/>
              <a:gd name="connsiteY0" fmla="*/ 2705824 h 2705824"/>
              <a:gd name="connsiteX1" fmla="*/ 306766 w 2705824"/>
              <a:gd name="connsiteY1" fmla="*/ 2705824 h 2705824"/>
              <a:gd name="connsiteX2" fmla="*/ 0 w 2705824"/>
              <a:gd name="connsiteY2" fmla="*/ 2399058 h 2705824"/>
              <a:gd name="connsiteX3" fmla="*/ 0 w 2705824"/>
              <a:gd name="connsiteY3" fmla="*/ 0 h 2705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05824" h="2705824">
                <a:moveTo>
                  <a:pt x="2705824" y="2705824"/>
                </a:moveTo>
                <a:lnTo>
                  <a:pt x="306766" y="2705824"/>
                </a:lnTo>
                <a:cubicBezTo>
                  <a:pt x="137344" y="2705824"/>
                  <a:pt x="0" y="2568480"/>
                  <a:pt x="0" y="23990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rgbClr val="0CEF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491919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493F902-AAD1-8100-DE89-9A4C865E166B}"/>
              </a:ext>
            </a:extLst>
          </p:cNvPr>
          <p:cNvSpPr/>
          <p:nvPr userDrawn="1"/>
        </p:nvSpPr>
        <p:spPr>
          <a:xfrm rot="2700000">
            <a:off x="9798166" y="-906004"/>
            <a:ext cx="1193902" cy="4301542"/>
          </a:xfrm>
          <a:custGeom>
            <a:avLst/>
            <a:gdLst>
              <a:gd name="connsiteX0" fmla="*/ 0 w 1193902"/>
              <a:gd name="connsiteY0" fmla="*/ 987355 h 4301542"/>
              <a:gd name="connsiteX1" fmla="*/ 987355 w 1193902"/>
              <a:gd name="connsiteY1" fmla="*/ 0 h 4301542"/>
              <a:gd name="connsiteX2" fmla="*/ 1193902 w 1193902"/>
              <a:gd name="connsiteY2" fmla="*/ 206546 h 4301542"/>
              <a:gd name="connsiteX3" fmla="*/ 1193901 w 1193902"/>
              <a:gd name="connsiteY3" fmla="*/ 3704591 h 4301542"/>
              <a:gd name="connsiteX4" fmla="*/ 596950 w 1193902"/>
              <a:gd name="connsiteY4" fmla="*/ 4301542 h 4301542"/>
              <a:gd name="connsiteX5" fmla="*/ 596951 w 1193902"/>
              <a:gd name="connsiteY5" fmla="*/ 4301541 h 4301542"/>
              <a:gd name="connsiteX6" fmla="*/ 0 w 1193902"/>
              <a:gd name="connsiteY6" fmla="*/ 370459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  <a:gd name="connsiteX7" fmla="*/ 1078795 w 1193902"/>
              <a:gd name="connsiteY7" fmla="*/ 9144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3902" h="4301542">
                <a:moveTo>
                  <a:pt x="987355" y="0"/>
                </a:moveTo>
                <a:lnTo>
                  <a:pt x="1193902" y="206546"/>
                </a:lnTo>
                <a:cubicBezTo>
                  <a:pt x="1193902" y="1372561"/>
                  <a:pt x="1193901" y="2538576"/>
                  <a:pt x="1193901" y="3704591"/>
                </a:cubicBezTo>
                <a:cubicBezTo>
                  <a:pt x="1193901" y="4034278"/>
                  <a:pt x="926637" y="4301542"/>
                  <a:pt x="596950" y="4301542"/>
                </a:cubicBezTo>
                <a:lnTo>
                  <a:pt x="596951" y="4301541"/>
                </a:lnTo>
                <a:cubicBezTo>
                  <a:pt x="267264" y="4301541"/>
                  <a:pt x="0" y="4034277"/>
                  <a:pt x="0" y="3704590"/>
                </a:cubicBezTo>
                <a:lnTo>
                  <a:pt x="0" y="987355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FC2DBB2-A181-4E29-6CCA-A8F30AC33C44}"/>
              </a:ext>
            </a:extLst>
          </p:cNvPr>
          <p:cNvSpPr/>
          <p:nvPr userDrawn="1"/>
        </p:nvSpPr>
        <p:spPr>
          <a:xfrm rot="2700000">
            <a:off x="11019741" y="1955164"/>
            <a:ext cx="825711" cy="2790751"/>
          </a:xfrm>
          <a:custGeom>
            <a:avLst/>
            <a:gdLst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6" fmla="*/ 91440 w 825711"/>
              <a:gd name="connsiteY6" fmla="*/ 91440 h 2882191"/>
              <a:gd name="connsiteX0" fmla="*/ 825711 w 825711"/>
              <a:gd name="connsiteY0" fmla="*/ 734271 h 2790751"/>
              <a:gd name="connsiteX1" fmla="*/ 825711 w 825711"/>
              <a:gd name="connsiteY1" fmla="*/ 2377895 h 2790751"/>
              <a:gd name="connsiteX2" fmla="*/ 412855 w 825711"/>
              <a:gd name="connsiteY2" fmla="*/ 2790751 h 2790751"/>
              <a:gd name="connsiteX3" fmla="*/ 412856 w 825711"/>
              <a:gd name="connsiteY3" fmla="*/ 2790750 h 2790751"/>
              <a:gd name="connsiteX4" fmla="*/ 0 w 825711"/>
              <a:gd name="connsiteY4" fmla="*/ 2377894 h 2790751"/>
              <a:gd name="connsiteX5" fmla="*/ 91440 w 825711"/>
              <a:gd name="connsiteY5" fmla="*/ 0 h 2790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2790751">
                <a:moveTo>
                  <a:pt x="825711" y="734271"/>
                </a:moveTo>
                <a:lnTo>
                  <a:pt x="825711" y="2377895"/>
                </a:lnTo>
                <a:cubicBezTo>
                  <a:pt x="825711" y="2605909"/>
                  <a:pt x="640869" y="2790751"/>
                  <a:pt x="412855" y="2790751"/>
                </a:cubicBezTo>
                <a:lnTo>
                  <a:pt x="412856" y="2790750"/>
                </a:lnTo>
                <a:cubicBezTo>
                  <a:pt x="184842" y="2790750"/>
                  <a:pt x="0" y="2605908"/>
                  <a:pt x="0" y="2377894"/>
                </a:cubicBezTo>
                <a:cubicBezTo>
                  <a:pt x="0" y="1554783"/>
                  <a:pt x="91440" y="0"/>
                  <a:pt x="91440" y="0"/>
                </a:cubicBez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FC722F8-9A5C-19E5-0242-1E41CA5B41E8}"/>
              </a:ext>
            </a:extLst>
          </p:cNvPr>
          <p:cNvSpPr/>
          <p:nvPr userDrawn="1"/>
        </p:nvSpPr>
        <p:spPr>
          <a:xfrm rot="2700000">
            <a:off x="10059962" y="-488825"/>
            <a:ext cx="1032256" cy="5442037"/>
          </a:xfrm>
          <a:custGeom>
            <a:avLst/>
            <a:gdLst>
              <a:gd name="connsiteX0" fmla="*/ 0 w 1032256"/>
              <a:gd name="connsiteY0" fmla="*/ 80350 h 5442037"/>
              <a:gd name="connsiteX1" fmla="*/ 80350 w 1032256"/>
              <a:gd name="connsiteY1" fmla="*/ 0 h 5442037"/>
              <a:gd name="connsiteX2" fmla="*/ 1032256 w 1032256"/>
              <a:gd name="connsiteY2" fmla="*/ 951906 h 5442037"/>
              <a:gd name="connsiteX3" fmla="*/ 1032255 w 1032256"/>
              <a:gd name="connsiteY3" fmla="*/ 4925909 h 5442037"/>
              <a:gd name="connsiteX4" fmla="*/ 516127 w 1032256"/>
              <a:gd name="connsiteY4" fmla="*/ 5442037 h 5442037"/>
              <a:gd name="connsiteX5" fmla="*/ 516128 w 1032256"/>
              <a:gd name="connsiteY5" fmla="*/ 5442036 h 5442037"/>
              <a:gd name="connsiteX6" fmla="*/ 0 w 1032256"/>
              <a:gd name="connsiteY6" fmla="*/ 4925908 h 544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2256" h="5442037">
                <a:moveTo>
                  <a:pt x="0" y="80350"/>
                </a:moveTo>
                <a:lnTo>
                  <a:pt x="80350" y="0"/>
                </a:lnTo>
                <a:lnTo>
                  <a:pt x="1032256" y="951906"/>
                </a:lnTo>
                <a:lnTo>
                  <a:pt x="1032255" y="4925909"/>
                </a:lnTo>
                <a:cubicBezTo>
                  <a:pt x="1032255" y="5210959"/>
                  <a:pt x="801177" y="5442037"/>
                  <a:pt x="516127" y="5442037"/>
                </a:cubicBezTo>
                <a:lnTo>
                  <a:pt x="516128" y="5442036"/>
                </a:lnTo>
                <a:cubicBezTo>
                  <a:pt x="231078" y="5442036"/>
                  <a:pt x="0" y="5210958"/>
                  <a:pt x="0" y="492590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61D5A5C-10B5-236E-C5A3-320C49CAC101}"/>
              </a:ext>
            </a:extLst>
          </p:cNvPr>
          <p:cNvSpPr/>
          <p:nvPr userDrawn="1"/>
        </p:nvSpPr>
        <p:spPr>
          <a:xfrm rot="2700000">
            <a:off x="10155384" y="-743160"/>
            <a:ext cx="619166" cy="4750557"/>
          </a:xfrm>
          <a:custGeom>
            <a:avLst/>
            <a:gdLst>
              <a:gd name="connsiteX0" fmla="*/ 0 w 619166"/>
              <a:gd name="connsiteY0" fmla="*/ 376697 h 4750557"/>
              <a:gd name="connsiteX1" fmla="*/ 376697 w 619166"/>
              <a:gd name="connsiteY1" fmla="*/ 0 h 4750557"/>
              <a:gd name="connsiteX2" fmla="*/ 619166 w 619166"/>
              <a:gd name="connsiteY2" fmla="*/ 242469 h 4750557"/>
              <a:gd name="connsiteX3" fmla="*/ 619165 w 619166"/>
              <a:gd name="connsiteY3" fmla="*/ 4440974 h 4750557"/>
              <a:gd name="connsiteX4" fmla="*/ 309582 w 619166"/>
              <a:gd name="connsiteY4" fmla="*/ 4750557 h 4750557"/>
              <a:gd name="connsiteX5" fmla="*/ 309583 w 619166"/>
              <a:gd name="connsiteY5" fmla="*/ 4750556 h 4750557"/>
              <a:gd name="connsiteX6" fmla="*/ 0 w 619166"/>
              <a:gd name="connsiteY6" fmla="*/ 4440973 h 4750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166" h="4750557">
                <a:moveTo>
                  <a:pt x="0" y="376697"/>
                </a:moveTo>
                <a:lnTo>
                  <a:pt x="376697" y="0"/>
                </a:lnTo>
                <a:lnTo>
                  <a:pt x="619166" y="242469"/>
                </a:lnTo>
                <a:lnTo>
                  <a:pt x="619165" y="4440974"/>
                </a:lnTo>
                <a:cubicBezTo>
                  <a:pt x="619165" y="4611952"/>
                  <a:pt x="480560" y="4750557"/>
                  <a:pt x="309582" y="4750557"/>
                </a:cubicBezTo>
                <a:lnTo>
                  <a:pt x="309583" y="4750556"/>
                </a:lnTo>
                <a:cubicBezTo>
                  <a:pt x="138605" y="4750556"/>
                  <a:pt x="0" y="4611951"/>
                  <a:pt x="0" y="4440973"/>
                </a:cubicBezTo>
                <a:close/>
              </a:path>
            </a:pathLst>
          </a:custGeom>
          <a:solidFill>
            <a:srgbClr val="0CE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380E180-0B33-1124-60B3-4CE23784FB15}"/>
              </a:ext>
            </a:extLst>
          </p:cNvPr>
          <p:cNvSpPr/>
          <p:nvPr userDrawn="1"/>
        </p:nvSpPr>
        <p:spPr>
          <a:xfrm rot="2700000">
            <a:off x="10829819" y="1073856"/>
            <a:ext cx="825711" cy="3510810"/>
          </a:xfrm>
          <a:custGeom>
            <a:avLst/>
            <a:gdLst>
              <a:gd name="connsiteX0" fmla="*/ 0 w 825711"/>
              <a:gd name="connsiteY0" fmla="*/ 0 h 3510810"/>
              <a:gd name="connsiteX1" fmla="*/ 825711 w 825711"/>
              <a:gd name="connsiteY1" fmla="*/ 825711 h 3510810"/>
              <a:gd name="connsiteX2" fmla="*/ 825711 w 825711"/>
              <a:gd name="connsiteY2" fmla="*/ 3097954 h 3510810"/>
              <a:gd name="connsiteX3" fmla="*/ 412855 w 825711"/>
              <a:gd name="connsiteY3" fmla="*/ 3510810 h 3510810"/>
              <a:gd name="connsiteX4" fmla="*/ 412856 w 825711"/>
              <a:gd name="connsiteY4" fmla="*/ 3510809 h 3510810"/>
              <a:gd name="connsiteX5" fmla="*/ 0 w 825711"/>
              <a:gd name="connsiteY5" fmla="*/ 3097953 h 351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3510810">
                <a:moveTo>
                  <a:pt x="0" y="0"/>
                </a:moveTo>
                <a:lnTo>
                  <a:pt x="825711" y="825711"/>
                </a:lnTo>
                <a:lnTo>
                  <a:pt x="825711" y="3097954"/>
                </a:lnTo>
                <a:cubicBezTo>
                  <a:pt x="825711" y="3325968"/>
                  <a:pt x="640869" y="3510810"/>
                  <a:pt x="412855" y="3510810"/>
                </a:cubicBezTo>
                <a:lnTo>
                  <a:pt x="412856" y="3510809"/>
                </a:lnTo>
                <a:cubicBezTo>
                  <a:pt x="184842" y="3510809"/>
                  <a:pt x="0" y="3325967"/>
                  <a:pt x="0" y="30979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448385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549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01">
          <p15:clr>
            <a:srgbClr val="FBAE40"/>
          </p15:clr>
        </p15:guide>
        <p15:guide id="4" pos="23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361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23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B8145B38-E1CB-DEA8-8EF3-195F00F09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02292" y="-1621738"/>
            <a:ext cx="3559869" cy="3559869"/>
          </a:xfrm>
          <a:prstGeom prst="rect">
            <a:avLst/>
          </a:prstGeom>
        </p:spPr>
      </p:pic>
      <p:pic>
        <p:nvPicPr>
          <p:cNvPr id="7" name="Picture 6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9EFE190A-BE79-9FF0-5AE1-8B8F12A436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16986" y="5771404"/>
            <a:ext cx="4593535" cy="459353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A78CF30-E779-C483-A320-F5558596A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62891"/>
            <a:ext cx="8772728" cy="701731"/>
          </a:xfrm>
        </p:spPr>
        <p:txBody>
          <a:bodyPr>
            <a:spAutoFit/>
          </a:bodyPr>
          <a:lstStyle>
            <a:lvl1pPr>
              <a:defRPr>
                <a:solidFill>
                  <a:srgbClr val="44424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874C0A-7468-CB08-249C-DFA1D538B05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3222761"/>
            <a:ext cx="5181600" cy="2117631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864A62-5995-5383-6F3A-7E66D0D0F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3222761"/>
            <a:ext cx="5181600" cy="2117631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C07F452-D889-1223-CD75-DCE91489860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6252" y="-237567"/>
            <a:ext cx="1516725" cy="151672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35BBD88-FCA0-7EA7-87FE-1EF3D88AA68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944104" y="5495839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01378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8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66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694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59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01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350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917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563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301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4206354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9E3928B1-887D-2916-226E-E22E8A2DD0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535445" y="4352926"/>
            <a:ext cx="4452937" cy="4452937"/>
          </a:xfrm>
          <a:prstGeom prst="rect">
            <a:avLst/>
          </a:prstGeom>
        </p:spPr>
      </p:pic>
      <p:pic>
        <p:nvPicPr>
          <p:cNvPr id="8" name="Picture 7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A0A50425-406A-EC3C-7365-7B54BBFE76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5978" y="-1916418"/>
            <a:ext cx="4868069" cy="48680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C31442F-BA31-6775-04B7-C5BADCE4D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03187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AC2287-38A4-A752-F3E8-931CDD0AB3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347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F2B376-AAE0-D1BD-1768-8F98681C30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3339307"/>
            <a:ext cx="5157787" cy="317218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DBD214-8418-12E3-F3DF-C0E00764BB4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347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E677B34-8A0C-B735-0B20-FA76C9A5E65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3339307"/>
            <a:ext cx="5183188" cy="317218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E3FD4C2-A9E9-CDD4-EAA2-4ADB4A62C0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1592" y="2741926"/>
            <a:ext cx="1516725" cy="151672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20756B-0C15-7E89-6800-7CA90A3A2F6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632448" y="5495839"/>
            <a:ext cx="745764" cy="272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6325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3708741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428706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5400000" flipH="1">
            <a:off x="1141342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5400000" flipH="1">
            <a:off x="572602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5400000" flipH="1">
            <a:off x="766970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5400000" flipH="1">
            <a:off x="2255792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442453"/>
              <a:gd name="connsiteX1" fmla="*/ 0 w 877958"/>
              <a:gd name="connsiteY1" fmla="*/ 438979 h 5442453"/>
              <a:gd name="connsiteX2" fmla="*/ 438979 w 877958"/>
              <a:gd name="connsiteY2" fmla="*/ 0 h 5442453"/>
              <a:gd name="connsiteX3" fmla="*/ 438979 w 877958"/>
              <a:gd name="connsiteY3" fmla="*/ 0 h 5442453"/>
              <a:gd name="connsiteX4" fmla="*/ 877958 w 877958"/>
              <a:gd name="connsiteY4" fmla="*/ 438979 h 5442453"/>
              <a:gd name="connsiteX5" fmla="*/ 877958 w 877958"/>
              <a:gd name="connsiteY5" fmla="*/ 5389536 h 5442453"/>
              <a:gd name="connsiteX6" fmla="*/ 877958 w 877958"/>
              <a:gd name="connsiteY6" fmla="*/ 5389536 h 5442453"/>
              <a:gd name="connsiteX7" fmla="*/ 14816 w 877958"/>
              <a:gd name="connsiteY7" fmla="*/ 5442453 h 5442453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E9C315F-6F0F-88CF-06F8-56C10BD0C2A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B046CC9-1517-70B1-8165-DF336CD8DB1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5617028" y="2465262"/>
            <a:ext cx="5889171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02058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97C944E-D498-D622-98F6-EFDA46864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2001994"/>
            <a:ext cx="5588846" cy="328269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22C3E46-9D61-E508-04E3-6A06DDAA050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6C46D3E-AC6D-3103-8DBD-956D74F4C909}"/>
              </a:ext>
            </a:extLst>
          </p:cNvPr>
          <p:cNvSpPr/>
          <p:nvPr userDrawn="1"/>
        </p:nvSpPr>
        <p:spPr>
          <a:xfrm rot="900000">
            <a:off x="8442677" y="-448970"/>
            <a:ext cx="3111997" cy="7865277"/>
          </a:xfrm>
          <a:custGeom>
            <a:avLst/>
            <a:gdLst>
              <a:gd name="connsiteX0" fmla="*/ 0 w 3111997"/>
              <a:gd name="connsiteY0" fmla="*/ 743009 h 7865277"/>
              <a:gd name="connsiteX1" fmla="*/ 2772948 w 3111997"/>
              <a:gd name="connsiteY1" fmla="*/ 0 h 7865277"/>
              <a:gd name="connsiteX2" fmla="*/ 3111997 w 3111997"/>
              <a:gd name="connsiteY2" fmla="*/ 1265346 h 7865277"/>
              <a:gd name="connsiteX3" fmla="*/ 3111997 w 3111997"/>
              <a:gd name="connsiteY3" fmla="*/ 7031420 h 7865277"/>
              <a:gd name="connsiteX4" fmla="*/ 0 w 3111997"/>
              <a:gd name="connsiteY4" fmla="*/ 7865277 h 7865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1997" h="7865277">
                <a:moveTo>
                  <a:pt x="0" y="743009"/>
                </a:moveTo>
                <a:lnTo>
                  <a:pt x="2772948" y="0"/>
                </a:lnTo>
                <a:lnTo>
                  <a:pt x="3111997" y="1265346"/>
                </a:lnTo>
                <a:lnTo>
                  <a:pt x="3111997" y="7031420"/>
                </a:lnTo>
                <a:lnTo>
                  <a:pt x="0" y="7865277"/>
                </a:lnTo>
                <a:close/>
              </a:path>
            </a:pathLst>
          </a:custGeom>
          <a:gradFill flip="none" rotWithShape="1">
            <a:gsLst>
              <a:gs pos="80000">
                <a:srgbClr val="005587"/>
              </a:gs>
              <a:gs pos="2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C91B8118-8001-4841-19F8-D496141A50A0}"/>
              </a:ext>
            </a:extLst>
          </p:cNvPr>
          <p:cNvSpPr/>
          <p:nvPr userDrawn="1"/>
        </p:nvSpPr>
        <p:spPr>
          <a:xfrm rot="900000">
            <a:off x="7857953" y="-251045"/>
            <a:ext cx="1122250" cy="6279582"/>
          </a:xfrm>
          <a:custGeom>
            <a:avLst/>
            <a:gdLst>
              <a:gd name="connsiteX0" fmla="*/ 0 w 1122250"/>
              <a:gd name="connsiteY0" fmla="*/ 299494 h 6279582"/>
              <a:gd name="connsiteX1" fmla="*/ 1117728 w 1122250"/>
              <a:gd name="connsiteY1" fmla="*/ 0 h 6279582"/>
              <a:gd name="connsiteX2" fmla="*/ 1122250 w 1122250"/>
              <a:gd name="connsiteY2" fmla="*/ 44868 h 6279582"/>
              <a:gd name="connsiteX3" fmla="*/ 1122250 w 1122250"/>
              <a:gd name="connsiteY3" fmla="*/ 5718457 h 6279582"/>
              <a:gd name="connsiteX4" fmla="*/ 561125 w 1122250"/>
              <a:gd name="connsiteY4" fmla="*/ 6279582 h 6279582"/>
              <a:gd name="connsiteX5" fmla="*/ 0 w 1122250"/>
              <a:gd name="connsiteY5" fmla="*/ 5718457 h 627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2250" h="6279582">
                <a:moveTo>
                  <a:pt x="0" y="299494"/>
                </a:moveTo>
                <a:lnTo>
                  <a:pt x="1117728" y="0"/>
                </a:lnTo>
                <a:lnTo>
                  <a:pt x="1122250" y="44868"/>
                </a:lnTo>
                <a:lnTo>
                  <a:pt x="1122250" y="5718457"/>
                </a:lnTo>
                <a:cubicBezTo>
                  <a:pt x="1122250" y="6028358"/>
                  <a:pt x="871026" y="6279582"/>
                  <a:pt x="561125" y="6279582"/>
                </a:cubicBezTo>
                <a:cubicBezTo>
                  <a:pt x="251224" y="6279582"/>
                  <a:pt x="0" y="6028358"/>
                  <a:pt x="0" y="57184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D0BEB81-5C21-E6CB-2945-4D85A1CF4B39}"/>
              </a:ext>
            </a:extLst>
          </p:cNvPr>
          <p:cNvSpPr/>
          <p:nvPr userDrawn="1"/>
        </p:nvSpPr>
        <p:spPr>
          <a:xfrm rot="900000">
            <a:off x="10684011" y="4443897"/>
            <a:ext cx="1122250" cy="2625649"/>
          </a:xfrm>
          <a:custGeom>
            <a:avLst/>
            <a:gdLst>
              <a:gd name="connsiteX0" fmla="*/ 448039 w 1122250"/>
              <a:gd name="connsiteY0" fmla="*/ 11400 h 2625649"/>
              <a:gd name="connsiteX1" fmla="*/ 561125 w 1122250"/>
              <a:gd name="connsiteY1" fmla="*/ 1 h 2625649"/>
              <a:gd name="connsiteX2" fmla="*/ 1122250 w 1122250"/>
              <a:gd name="connsiteY2" fmla="*/ 561125 h 2625649"/>
              <a:gd name="connsiteX3" fmla="*/ 1122250 w 1122250"/>
              <a:gd name="connsiteY3" fmla="*/ 2324943 h 2625649"/>
              <a:gd name="connsiteX4" fmla="*/ 0 w 1122250"/>
              <a:gd name="connsiteY4" fmla="*/ 2625649 h 2625649"/>
              <a:gd name="connsiteX5" fmla="*/ 0 w 1122250"/>
              <a:gd name="connsiteY5" fmla="*/ 561125 h 2625649"/>
              <a:gd name="connsiteX6" fmla="*/ 448039 w 1122250"/>
              <a:gd name="connsiteY6" fmla="*/ 11400 h 262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2250" h="2625649">
                <a:moveTo>
                  <a:pt x="448039" y="11400"/>
                </a:moveTo>
                <a:cubicBezTo>
                  <a:pt x="484566" y="3926"/>
                  <a:pt x="522387" y="0"/>
                  <a:pt x="561125" y="1"/>
                </a:cubicBezTo>
                <a:cubicBezTo>
                  <a:pt x="871026" y="0"/>
                  <a:pt x="1122250" y="251225"/>
                  <a:pt x="1122250" y="561125"/>
                </a:cubicBezTo>
                <a:lnTo>
                  <a:pt x="1122250" y="2324943"/>
                </a:lnTo>
                <a:lnTo>
                  <a:pt x="0" y="2625649"/>
                </a:lnTo>
                <a:lnTo>
                  <a:pt x="0" y="561125"/>
                </a:lnTo>
                <a:cubicBezTo>
                  <a:pt x="0" y="289962"/>
                  <a:pt x="192344" y="63723"/>
                  <a:pt x="448039" y="114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643541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AEDBA70-406E-67AC-EA19-AFC94EEB8D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80FF161-95B3-687F-236E-89576B37039B}"/>
              </a:ext>
            </a:extLst>
          </p:cNvPr>
          <p:cNvSpPr/>
          <p:nvPr userDrawn="1"/>
        </p:nvSpPr>
        <p:spPr>
          <a:xfrm rot="18896850">
            <a:off x="8810675" y="809749"/>
            <a:ext cx="2572502" cy="6381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1B89BCA-B6DC-9CFA-1B14-60CBF7F68A9A}"/>
              </a:ext>
            </a:extLst>
          </p:cNvPr>
          <p:cNvSpPr/>
          <p:nvPr userDrawn="1"/>
        </p:nvSpPr>
        <p:spPr>
          <a:xfrm rot="18896850">
            <a:off x="9955161" y="3750354"/>
            <a:ext cx="2884755" cy="638140"/>
          </a:xfrm>
          <a:custGeom>
            <a:avLst/>
            <a:gdLst>
              <a:gd name="connsiteX0" fmla="*/ 3674317 w 3674317"/>
              <a:gd name="connsiteY0" fmla="*/ 0 h 812800"/>
              <a:gd name="connsiteX1" fmla="*/ 2860027 w 3674317"/>
              <a:gd name="connsiteY1" fmla="*/ 812800 h 812800"/>
              <a:gd name="connsiteX2" fmla="*/ 406400 w 3674317"/>
              <a:gd name="connsiteY2" fmla="*/ 812800 h 812800"/>
              <a:gd name="connsiteX3" fmla="*/ 0 w 3674317"/>
              <a:gd name="connsiteY3" fmla="*/ 406400 h 812800"/>
              <a:gd name="connsiteX4" fmla="*/ 406400 w 3674317"/>
              <a:gd name="connsiteY4" fmla="*/ 0 h 81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4317" h="812800">
                <a:moveTo>
                  <a:pt x="3674317" y="0"/>
                </a:moveTo>
                <a:lnTo>
                  <a:pt x="2860027" y="812800"/>
                </a:lnTo>
                <a:lnTo>
                  <a:pt x="406400" y="812800"/>
                </a:lnTo>
                <a:cubicBezTo>
                  <a:pt x="181951" y="812800"/>
                  <a:pt x="0" y="630849"/>
                  <a:pt x="0" y="406400"/>
                </a:cubicBezTo>
                <a:cubicBezTo>
                  <a:pt x="0" y="181951"/>
                  <a:pt x="181951" y="0"/>
                  <a:pt x="4064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F014C0-8BB5-5793-9DBD-D422EF624E7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711200"/>
            <a:ext cx="7285515" cy="45766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381AB1C-94E0-88DE-B7FB-AF548E53C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20C9601-4C00-1F60-ACBA-FDEED78A2031}"/>
              </a:ext>
            </a:extLst>
          </p:cNvPr>
          <p:cNvSpPr>
            <a:spLocks/>
          </p:cNvSpPr>
          <p:nvPr userDrawn="1"/>
        </p:nvSpPr>
        <p:spPr bwMode="auto">
          <a:xfrm>
            <a:off x="11012739" y="-38910"/>
            <a:ext cx="1224656" cy="1829007"/>
          </a:xfrm>
          <a:custGeom>
            <a:avLst/>
            <a:gdLst>
              <a:gd name="connsiteX0" fmla="*/ 153315 w 1224656"/>
              <a:gd name="connsiteY0" fmla="*/ 0 h 1829007"/>
              <a:gd name="connsiteX1" fmla="*/ 1224656 w 1224656"/>
              <a:gd name="connsiteY1" fmla="*/ 0 h 1829007"/>
              <a:gd name="connsiteX2" fmla="*/ 1224656 w 1224656"/>
              <a:gd name="connsiteY2" fmla="*/ 1829007 h 1829007"/>
              <a:gd name="connsiteX3" fmla="*/ 1154215 w 1224656"/>
              <a:gd name="connsiteY3" fmla="*/ 1758565 h 1829007"/>
              <a:gd name="connsiteX4" fmla="*/ 159544 w 1224656"/>
              <a:gd name="connsiteY4" fmla="*/ 763895 h 1829007"/>
              <a:gd name="connsiteX5" fmla="*/ 89744 w 1224656"/>
              <a:gd name="connsiteY5" fmla="*/ 77872 h 1829007"/>
              <a:gd name="connsiteX0" fmla="*/ 1224656 w 1316096"/>
              <a:gd name="connsiteY0" fmla="*/ 0 h 1829007"/>
              <a:gd name="connsiteX1" fmla="*/ 1224656 w 1316096"/>
              <a:gd name="connsiteY1" fmla="*/ 1829007 h 1829007"/>
              <a:gd name="connsiteX2" fmla="*/ 1154215 w 1316096"/>
              <a:gd name="connsiteY2" fmla="*/ 1758565 h 1829007"/>
              <a:gd name="connsiteX3" fmla="*/ 159544 w 1316096"/>
              <a:gd name="connsiteY3" fmla="*/ 763895 h 1829007"/>
              <a:gd name="connsiteX4" fmla="*/ 89744 w 1316096"/>
              <a:gd name="connsiteY4" fmla="*/ 77872 h 1829007"/>
              <a:gd name="connsiteX5" fmla="*/ 153315 w 1316096"/>
              <a:gd name="connsiteY5" fmla="*/ 0 h 1829007"/>
              <a:gd name="connsiteX6" fmla="*/ 1316096 w 1316096"/>
              <a:gd name="connsiteY6" fmla="*/ 91440 h 1829007"/>
              <a:gd name="connsiteX0" fmla="*/ 1224656 w 1224656"/>
              <a:gd name="connsiteY0" fmla="*/ 0 h 1829007"/>
              <a:gd name="connsiteX1" fmla="*/ 1224656 w 1224656"/>
              <a:gd name="connsiteY1" fmla="*/ 1829007 h 1829007"/>
              <a:gd name="connsiteX2" fmla="*/ 1154215 w 1224656"/>
              <a:gd name="connsiteY2" fmla="*/ 1758565 h 1829007"/>
              <a:gd name="connsiteX3" fmla="*/ 159544 w 1224656"/>
              <a:gd name="connsiteY3" fmla="*/ 763895 h 1829007"/>
              <a:gd name="connsiteX4" fmla="*/ 89744 w 1224656"/>
              <a:gd name="connsiteY4" fmla="*/ 77872 h 1829007"/>
              <a:gd name="connsiteX5" fmla="*/ 153315 w 1224656"/>
              <a:gd name="connsiteY5" fmla="*/ 0 h 1829007"/>
              <a:gd name="connsiteX0" fmla="*/ 1224656 w 1224656"/>
              <a:gd name="connsiteY0" fmla="*/ 1829007 h 1829007"/>
              <a:gd name="connsiteX1" fmla="*/ 1154215 w 1224656"/>
              <a:gd name="connsiteY1" fmla="*/ 1758565 h 1829007"/>
              <a:gd name="connsiteX2" fmla="*/ 159544 w 1224656"/>
              <a:gd name="connsiteY2" fmla="*/ 763895 h 1829007"/>
              <a:gd name="connsiteX3" fmla="*/ 89744 w 1224656"/>
              <a:gd name="connsiteY3" fmla="*/ 77872 h 1829007"/>
              <a:gd name="connsiteX4" fmla="*/ 153315 w 1224656"/>
              <a:gd name="connsiteY4" fmla="*/ 0 h 1829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656" h="1829007">
                <a:moveTo>
                  <a:pt x="1224656" y="1829007"/>
                </a:moveTo>
                <a:lnTo>
                  <a:pt x="1154215" y="1758565"/>
                </a:lnTo>
                <a:lnTo>
                  <a:pt x="159544" y="763895"/>
                </a:lnTo>
                <a:cubicBezTo>
                  <a:pt x="-26590" y="577761"/>
                  <a:pt x="-49857" y="289530"/>
                  <a:pt x="89744" y="77872"/>
                </a:cubicBezTo>
                <a:lnTo>
                  <a:pt x="153315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0699829-9421-BC32-D008-18D3C6101425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141640" y="1040337"/>
            <a:ext cx="3187991" cy="3194255"/>
          </a:xfrm>
          <a:custGeom>
            <a:avLst/>
            <a:gdLst>
              <a:gd name="connsiteX0" fmla="*/ 159586 w 3187991"/>
              <a:gd name="connsiteY0" fmla="*/ 159586 h 3194255"/>
              <a:gd name="connsiteX1" fmla="*/ 544860 w 3187991"/>
              <a:gd name="connsiteY1" fmla="*/ 0 h 3194255"/>
              <a:gd name="connsiteX2" fmla="*/ 2056479 w 3187991"/>
              <a:gd name="connsiteY2" fmla="*/ 0 h 3194255"/>
              <a:gd name="connsiteX3" fmla="*/ 3187991 w 3187991"/>
              <a:gd name="connsiteY3" fmla="*/ 1131513 h 3194255"/>
              <a:gd name="connsiteX4" fmla="*/ 3187991 w 3187991"/>
              <a:gd name="connsiteY4" fmla="*/ 2649395 h 3194255"/>
              <a:gd name="connsiteX5" fmla="*/ 2643131 w 3187991"/>
              <a:gd name="connsiteY5" fmla="*/ 3194255 h 3194255"/>
              <a:gd name="connsiteX6" fmla="*/ 544860 w 3187991"/>
              <a:gd name="connsiteY6" fmla="*/ 3194255 h 3194255"/>
              <a:gd name="connsiteX7" fmla="*/ 0 w 3187991"/>
              <a:gd name="connsiteY7" fmla="*/ 2649395 h 3194255"/>
              <a:gd name="connsiteX8" fmla="*/ 0 w 3187991"/>
              <a:gd name="connsiteY8" fmla="*/ 544860 h 3194255"/>
              <a:gd name="connsiteX9" fmla="*/ 159586 w 3187991"/>
              <a:gd name="connsiteY9" fmla="*/ 159586 h 3194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87991" h="3194255">
                <a:moveTo>
                  <a:pt x="159586" y="159586"/>
                </a:moveTo>
                <a:cubicBezTo>
                  <a:pt x="258186" y="60985"/>
                  <a:pt x="394401" y="0"/>
                  <a:pt x="544860" y="0"/>
                </a:cubicBezTo>
                <a:lnTo>
                  <a:pt x="2056479" y="0"/>
                </a:lnTo>
                <a:lnTo>
                  <a:pt x="3187991" y="1131513"/>
                </a:lnTo>
                <a:lnTo>
                  <a:pt x="3187991" y="2649395"/>
                </a:lnTo>
                <a:cubicBezTo>
                  <a:pt x="3187991" y="2950313"/>
                  <a:pt x="2944049" y="3194255"/>
                  <a:pt x="2643131" y="3194255"/>
                </a:cubicBezTo>
                <a:lnTo>
                  <a:pt x="544860" y="3194255"/>
                </a:lnTo>
                <a:cubicBezTo>
                  <a:pt x="243942" y="3194255"/>
                  <a:pt x="0" y="2950313"/>
                  <a:pt x="0" y="2649395"/>
                </a:cubicBezTo>
                <a:lnTo>
                  <a:pt x="0" y="544860"/>
                </a:lnTo>
                <a:cubicBezTo>
                  <a:pt x="0" y="394401"/>
                  <a:pt x="60985" y="258186"/>
                  <a:pt x="159586" y="1595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075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>
            <a:spLocks/>
          </p:cNvSpPr>
          <p:nvPr userDrawn="1"/>
        </p:nvSpPr>
        <p:spPr>
          <a:xfrm rot="2700000">
            <a:off x="8997003" y="-456334"/>
            <a:ext cx="1658711" cy="544391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D8CB6CB-17D6-9423-37F8-6EFC4880AEC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1741713"/>
            <a:ext cx="5071843" cy="337457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CA16036-B78E-0275-6CA7-911DE4060426}"/>
              </a:ext>
            </a:extLst>
          </p:cNvPr>
          <p:cNvSpPr>
            <a:spLocks/>
          </p:cNvSpPr>
          <p:nvPr userDrawn="1"/>
        </p:nvSpPr>
        <p:spPr>
          <a:xfrm rot="2700000">
            <a:off x="9736981" y="3459243"/>
            <a:ext cx="1658711" cy="3580309"/>
          </a:xfrm>
          <a:prstGeom prst="roundRect">
            <a:avLst>
              <a:gd name="adj" fmla="val 50000"/>
            </a:avLst>
          </a:pr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BB13D00-4BF1-FD01-6A9F-B1CBB081237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AE586FF-C25B-AF33-5F15-454F206B53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40637" y="1828800"/>
            <a:ext cx="4551363" cy="35814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23008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5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609600"/>
            <a:ext cx="6202680" cy="46782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889AB6EA-4B7F-D626-10ED-8532995C414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480E36D-D806-7D05-D8DC-4ADC176E28F1}"/>
              </a:ext>
            </a:extLst>
          </p:cNvPr>
          <p:cNvSpPr/>
          <p:nvPr userDrawn="1"/>
        </p:nvSpPr>
        <p:spPr>
          <a:xfrm rot="13473600">
            <a:off x="9007218" y="-739919"/>
            <a:ext cx="2599744" cy="5533217"/>
          </a:xfrm>
          <a:custGeom>
            <a:avLst/>
            <a:gdLst>
              <a:gd name="connsiteX0" fmla="*/ 1378880 w 2599744"/>
              <a:gd name="connsiteY0" fmla="*/ 5533217 h 5533217"/>
              <a:gd name="connsiteX1" fmla="*/ 0 w 2599744"/>
              <a:gd name="connsiteY1" fmla="*/ 4132994 h 5533217"/>
              <a:gd name="connsiteX2" fmla="*/ 0 w 2599744"/>
              <a:gd name="connsiteY2" fmla="*/ 1299873 h 5533217"/>
              <a:gd name="connsiteX3" fmla="*/ 1299872 w 2599744"/>
              <a:gd name="connsiteY3" fmla="*/ 0 h 5533217"/>
              <a:gd name="connsiteX4" fmla="*/ 2599744 w 2599744"/>
              <a:gd name="connsiteY4" fmla="*/ 1299872 h 5533217"/>
              <a:gd name="connsiteX5" fmla="*/ 2599744 w 2599744"/>
              <a:gd name="connsiteY5" fmla="*/ 4330962 h 553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9744" h="5533217">
                <a:moveTo>
                  <a:pt x="1378880" y="5533217"/>
                </a:moveTo>
                <a:lnTo>
                  <a:pt x="0" y="4132994"/>
                </a:lnTo>
                <a:lnTo>
                  <a:pt x="0" y="1299873"/>
                </a:lnTo>
                <a:cubicBezTo>
                  <a:pt x="0" y="581972"/>
                  <a:pt x="581972" y="0"/>
                  <a:pt x="1299872" y="0"/>
                </a:cubicBezTo>
                <a:cubicBezTo>
                  <a:pt x="2017771" y="0"/>
                  <a:pt x="2599744" y="581973"/>
                  <a:pt x="2599744" y="1299872"/>
                </a:cubicBezTo>
                <a:lnTo>
                  <a:pt x="2599744" y="433096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79252B4-99CA-3419-840E-DA516CC6BEBB}"/>
              </a:ext>
            </a:extLst>
          </p:cNvPr>
          <p:cNvSpPr/>
          <p:nvPr userDrawn="1"/>
        </p:nvSpPr>
        <p:spPr>
          <a:xfrm rot="20457708">
            <a:off x="11186621" y="-13688"/>
            <a:ext cx="660198" cy="358286"/>
          </a:xfrm>
          <a:custGeom>
            <a:avLst/>
            <a:gdLst>
              <a:gd name="connsiteX0" fmla="*/ 318178 w 660198"/>
              <a:gd name="connsiteY0" fmla="*/ 0 h 358286"/>
              <a:gd name="connsiteX1" fmla="*/ 660198 w 660198"/>
              <a:gd name="connsiteY1" fmla="*/ 118023 h 358286"/>
              <a:gd name="connsiteX2" fmla="*/ 229425 w 660198"/>
              <a:gd name="connsiteY2" fmla="*/ 330222 h 358286"/>
              <a:gd name="connsiteX3" fmla="*/ 13408 w 660198"/>
              <a:gd name="connsiteY3" fmla="*/ 296211 h 358286"/>
              <a:gd name="connsiteX4" fmla="*/ 11570 w 660198"/>
              <a:gd name="connsiteY4" fmla="*/ 291615 h 358286"/>
              <a:gd name="connsiteX5" fmla="*/ 116362 w 660198"/>
              <a:gd name="connsiteY5" fmla="*/ 99498 h 358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198" h="358286">
                <a:moveTo>
                  <a:pt x="318178" y="0"/>
                </a:moveTo>
                <a:lnTo>
                  <a:pt x="660198" y="118023"/>
                </a:lnTo>
                <a:lnTo>
                  <a:pt x="229425" y="330222"/>
                </a:lnTo>
                <a:cubicBezTo>
                  <a:pt x="69481" y="409276"/>
                  <a:pt x="13408" y="296211"/>
                  <a:pt x="13408" y="296211"/>
                </a:cubicBezTo>
                <a:lnTo>
                  <a:pt x="11570" y="291615"/>
                </a:lnTo>
                <a:cubicBezTo>
                  <a:pt x="-43583" y="178552"/>
                  <a:pt x="116362" y="99498"/>
                  <a:pt x="116362" y="9949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BAC8301-D0B3-F09B-8934-4C4BF853D744}"/>
              </a:ext>
            </a:extLst>
          </p:cNvPr>
          <p:cNvSpPr/>
          <p:nvPr userDrawn="1"/>
        </p:nvSpPr>
        <p:spPr>
          <a:xfrm rot="2700000">
            <a:off x="9373836" y="-702513"/>
            <a:ext cx="780382" cy="2913053"/>
          </a:xfrm>
          <a:custGeom>
            <a:avLst/>
            <a:gdLst>
              <a:gd name="connsiteX0" fmla="*/ 0 w 780382"/>
              <a:gd name="connsiteY0" fmla="*/ 780382 h 2913053"/>
              <a:gd name="connsiteX1" fmla="*/ 780382 w 780382"/>
              <a:gd name="connsiteY1" fmla="*/ 0 h 2913053"/>
              <a:gd name="connsiteX2" fmla="*/ 780382 w 780382"/>
              <a:gd name="connsiteY2" fmla="*/ 2522862 h 2913053"/>
              <a:gd name="connsiteX3" fmla="*/ 390191 w 780382"/>
              <a:gd name="connsiteY3" fmla="*/ 2913053 h 2913053"/>
              <a:gd name="connsiteX4" fmla="*/ 0 w 780382"/>
              <a:gd name="connsiteY4" fmla="*/ 2522862 h 2913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382" h="2913053">
                <a:moveTo>
                  <a:pt x="0" y="780382"/>
                </a:moveTo>
                <a:lnTo>
                  <a:pt x="780382" y="0"/>
                </a:lnTo>
                <a:lnTo>
                  <a:pt x="780382" y="2522862"/>
                </a:lnTo>
                <a:cubicBezTo>
                  <a:pt x="780382" y="2738359"/>
                  <a:pt x="605688" y="2913053"/>
                  <a:pt x="390191" y="2913053"/>
                </a:cubicBezTo>
                <a:cubicBezTo>
                  <a:pt x="174694" y="2913053"/>
                  <a:pt x="0" y="2738359"/>
                  <a:pt x="0" y="252286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03DB20-CA44-5144-7694-2FBF81D0EACA}"/>
              </a:ext>
            </a:extLst>
          </p:cNvPr>
          <p:cNvSpPr/>
          <p:nvPr userDrawn="1"/>
        </p:nvSpPr>
        <p:spPr>
          <a:xfrm rot="2700000">
            <a:off x="11469147" y="2339446"/>
            <a:ext cx="1193519" cy="1550166"/>
          </a:xfrm>
          <a:custGeom>
            <a:avLst/>
            <a:gdLst>
              <a:gd name="connsiteX0" fmla="*/ 0 w 1193519"/>
              <a:gd name="connsiteY0" fmla="*/ 0 h 1550166"/>
              <a:gd name="connsiteX1" fmla="*/ 1193519 w 1193519"/>
              <a:gd name="connsiteY1" fmla="*/ 1193519 h 1550166"/>
              <a:gd name="connsiteX2" fmla="*/ 1150445 w 1193519"/>
              <a:gd name="connsiteY2" fmla="*/ 1272877 h 1550166"/>
              <a:gd name="connsiteX3" fmla="*/ 628928 w 1193519"/>
              <a:gd name="connsiteY3" fmla="*/ 1550166 h 1550166"/>
              <a:gd name="connsiteX4" fmla="*/ 0 w 1193519"/>
              <a:gd name="connsiteY4" fmla="*/ 921238 h 1550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3519" h="1550166">
                <a:moveTo>
                  <a:pt x="0" y="0"/>
                </a:moveTo>
                <a:lnTo>
                  <a:pt x="1193519" y="1193519"/>
                </a:lnTo>
                <a:lnTo>
                  <a:pt x="1150445" y="1272877"/>
                </a:lnTo>
                <a:cubicBezTo>
                  <a:pt x="1037422" y="1440173"/>
                  <a:pt x="846020" y="1550166"/>
                  <a:pt x="628928" y="1550166"/>
                </a:cubicBezTo>
                <a:cubicBezTo>
                  <a:pt x="281581" y="1550166"/>
                  <a:pt x="0" y="1268585"/>
                  <a:pt x="0" y="92123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602664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E971393-FE1D-3B6A-5952-3200539F4C21}"/>
              </a:ext>
            </a:extLst>
          </p:cNvPr>
          <p:cNvSpPr/>
          <p:nvPr userDrawn="1"/>
        </p:nvSpPr>
        <p:spPr>
          <a:xfrm rot="18900000">
            <a:off x="9590939" y="-1090570"/>
            <a:ext cx="3074362" cy="4401184"/>
          </a:xfrm>
          <a:custGeom>
            <a:avLst/>
            <a:gdLst>
              <a:gd name="connsiteX0" fmla="*/ 906398 w 3074362"/>
              <a:gd name="connsiteY0" fmla="*/ 0 h 4401184"/>
              <a:gd name="connsiteX1" fmla="*/ 3074362 w 3074362"/>
              <a:gd name="connsiteY1" fmla="*/ 2167965 h 4401184"/>
              <a:gd name="connsiteX2" fmla="*/ 841143 w 3074362"/>
              <a:gd name="connsiteY2" fmla="*/ 4401184 h 4401184"/>
              <a:gd name="connsiteX3" fmla="*/ 334666 w 3074362"/>
              <a:gd name="connsiteY3" fmla="*/ 4401184 h 4401184"/>
              <a:gd name="connsiteX4" fmla="*/ 0 w 3074362"/>
              <a:gd name="connsiteY4" fmla="*/ 4066518 h 4401184"/>
              <a:gd name="connsiteX5" fmla="*/ 0 w 3074362"/>
              <a:gd name="connsiteY5" fmla="*/ 334667 h 4401184"/>
              <a:gd name="connsiteX6" fmla="*/ 334666 w 3074362"/>
              <a:gd name="connsiteY6" fmla="*/ 0 h 4401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74362" h="4401184">
                <a:moveTo>
                  <a:pt x="906398" y="0"/>
                </a:moveTo>
                <a:lnTo>
                  <a:pt x="3074362" y="2167965"/>
                </a:lnTo>
                <a:lnTo>
                  <a:pt x="841143" y="4401184"/>
                </a:lnTo>
                <a:lnTo>
                  <a:pt x="334666" y="4401184"/>
                </a:lnTo>
                <a:cubicBezTo>
                  <a:pt x="149835" y="4401184"/>
                  <a:pt x="0" y="4251349"/>
                  <a:pt x="0" y="4066518"/>
                </a:cubicBezTo>
                <a:lnTo>
                  <a:pt x="0" y="334667"/>
                </a:lnTo>
                <a:cubicBezTo>
                  <a:pt x="0" y="149835"/>
                  <a:pt x="149835" y="0"/>
                  <a:pt x="334666" y="0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err="1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A9D7148-A6F2-CBCC-1252-9028ED2C858C}"/>
              </a:ext>
            </a:extLst>
          </p:cNvPr>
          <p:cNvSpPr/>
          <p:nvPr userDrawn="1"/>
        </p:nvSpPr>
        <p:spPr>
          <a:xfrm rot="2700000">
            <a:off x="6613319" y="-912201"/>
            <a:ext cx="3072335" cy="3072335"/>
          </a:xfrm>
          <a:custGeom>
            <a:avLst/>
            <a:gdLst>
              <a:gd name="connsiteX0" fmla="*/ 0 w 2777410"/>
              <a:gd name="connsiteY0" fmla="*/ 1975810 h 2777410"/>
              <a:gd name="connsiteX1" fmla="*/ 1975810 w 2777410"/>
              <a:gd name="connsiteY1" fmla="*/ 0 h 2777410"/>
              <a:gd name="connsiteX2" fmla="*/ 2540164 w 2777410"/>
              <a:gd name="connsiteY2" fmla="*/ 0 h 2777410"/>
              <a:gd name="connsiteX3" fmla="*/ 2777410 w 2777410"/>
              <a:gd name="connsiteY3" fmla="*/ 237247 h 2777410"/>
              <a:gd name="connsiteX4" fmla="*/ 2777410 w 2777410"/>
              <a:gd name="connsiteY4" fmla="*/ 2540163 h 2777410"/>
              <a:gd name="connsiteX5" fmla="*/ 2540163 w 2777410"/>
              <a:gd name="connsiteY5" fmla="*/ 2777410 h 2777410"/>
              <a:gd name="connsiteX6" fmla="*/ 237247 w 2777410"/>
              <a:gd name="connsiteY6" fmla="*/ 2777410 h 2777410"/>
              <a:gd name="connsiteX7" fmla="*/ 0 w 2777410"/>
              <a:gd name="connsiteY7" fmla="*/ 2540163 h 2777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77410" h="2777410">
                <a:moveTo>
                  <a:pt x="0" y="1975810"/>
                </a:moveTo>
                <a:lnTo>
                  <a:pt x="1975810" y="0"/>
                </a:lnTo>
                <a:lnTo>
                  <a:pt x="2540164" y="0"/>
                </a:lnTo>
                <a:cubicBezTo>
                  <a:pt x="2671191" y="0"/>
                  <a:pt x="2777410" y="106219"/>
                  <a:pt x="2777410" y="237247"/>
                </a:cubicBezTo>
                <a:lnTo>
                  <a:pt x="2777410" y="2540163"/>
                </a:lnTo>
                <a:cubicBezTo>
                  <a:pt x="2777410" y="2671191"/>
                  <a:pt x="2671191" y="2777410"/>
                  <a:pt x="2540163" y="2777410"/>
                </a:cubicBezTo>
                <a:lnTo>
                  <a:pt x="237247" y="2777410"/>
                </a:lnTo>
                <a:cubicBezTo>
                  <a:pt x="106220" y="2777410"/>
                  <a:pt x="0" y="2671190"/>
                  <a:pt x="0" y="2540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0474CF-7CCB-20DD-E6E1-8A9CD0E03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67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474CF-7CCB-20DD-E6E1-8A9CD0E03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13DC1846-D39B-50FF-487A-FD15579093A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2049693"/>
            <a:ext cx="5593080" cy="275861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FA3B847E-CEDD-4F28-13DA-54DB86046169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8579893" y="133677"/>
            <a:ext cx="2515488" cy="2515488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0BB57922-089B-617B-DB05-C881EA21986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 rot="16200000">
            <a:off x="7666727" y="-76160"/>
            <a:ext cx="4560732" cy="465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6C75E6-2F25-C869-52E2-8C5D355F51AF}"/>
              </a:ext>
            </a:extLst>
          </p:cNvPr>
          <p:cNvSpPr>
            <a:spLocks/>
          </p:cNvSpPr>
          <p:nvPr userDrawn="1"/>
        </p:nvSpPr>
        <p:spPr bwMode="auto">
          <a:xfrm rot="18900000">
            <a:off x="8399071" y="-1421668"/>
            <a:ext cx="2843336" cy="2843336"/>
          </a:xfrm>
          <a:custGeom>
            <a:avLst/>
            <a:gdLst>
              <a:gd name="connsiteX0" fmla="*/ 0 w 2843336"/>
              <a:gd name="connsiteY0" fmla="*/ 0 h 2843336"/>
              <a:gd name="connsiteX1" fmla="*/ 2843336 w 2843336"/>
              <a:gd name="connsiteY1" fmla="*/ 2843336 h 2843336"/>
              <a:gd name="connsiteX2" fmla="*/ 268488 w 2843336"/>
              <a:gd name="connsiteY2" fmla="*/ 2843336 h 2843336"/>
              <a:gd name="connsiteX3" fmla="*/ 0 w 2843336"/>
              <a:gd name="connsiteY3" fmla="*/ 2585131 h 2843336"/>
              <a:gd name="connsiteX0" fmla="*/ 2843336 w 2934776"/>
              <a:gd name="connsiteY0" fmla="*/ 2843336 h 2934776"/>
              <a:gd name="connsiteX1" fmla="*/ 268488 w 2934776"/>
              <a:gd name="connsiteY1" fmla="*/ 2843336 h 2934776"/>
              <a:gd name="connsiteX2" fmla="*/ 0 w 2934776"/>
              <a:gd name="connsiteY2" fmla="*/ 2585131 h 2934776"/>
              <a:gd name="connsiteX3" fmla="*/ 0 w 2934776"/>
              <a:gd name="connsiteY3" fmla="*/ 0 h 2934776"/>
              <a:gd name="connsiteX4" fmla="*/ 2934776 w 2934776"/>
              <a:gd name="connsiteY4" fmla="*/ 2934776 h 2934776"/>
              <a:gd name="connsiteX0" fmla="*/ 2843336 w 2843336"/>
              <a:gd name="connsiteY0" fmla="*/ 2843336 h 2843336"/>
              <a:gd name="connsiteX1" fmla="*/ 268488 w 2843336"/>
              <a:gd name="connsiteY1" fmla="*/ 2843336 h 2843336"/>
              <a:gd name="connsiteX2" fmla="*/ 0 w 2843336"/>
              <a:gd name="connsiteY2" fmla="*/ 2585131 h 2843336"/>
              <a:gd name="connsiteX3" fmla="*/ 0 w 2843336"/>
              <a:gd name="connsiteY3" fmla="*/ 0 h 284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3336" h="2843336">
                <a:moveTo>
                  <a:pt x="2843336" y="2843336"/>
                </a:moveTo>
                <a:lnTo>
                  <a:pt x="268488" y="2843336"/>
                </a:lnTo>
                <a:cubicBezTo>
                  <a:pt x="120207" y="2843336"/>
                  <a:pt x="0" y="2727734"/>
                  <a:pt x="0" y="2585131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A10C533-42F2-F66F-9D74-979D4CA2EBD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398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7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1786095"/>
            <a:ext cx="5071843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D67CFEF-F865-1F9D-9E2C-67AFFAA0CE63}"/>
              </a:ext>
            </a:extLst>
          </p:cNvPr>
          <p:cNvSpPr/>
          <p:nvPr userDrawn="1"/>
        </p:nvSpPr>
        <p:spPr>
          <a:xfrm rot="900000">
            <a:off x="10293886" y="-208160"/>
            <a:ext cx="964663" cy="4890833"/>
          </a:xfrm>
          <a:custGeom>
            <a:avLst/>
            <a:gdLst>
              <a:gd name="connsiteX0" fmla="*/ 0 w 964663"/>
              <a:gd name="connsiteY0" fmla="*/ 258480 h 4890833"/>
              <a:gd name="connsiteX1" fmla="*/ 964663 w 964663"/>
              <a:gd name="connsiteY1" fmla="*/ 0 h 4890833"/>
              <a:gd name="connsiteX2" fmla="*/ 964663 w 964663"/>
              <a:gd name="connsiteY2" fmla="*/ 4408501 h 4890833"/>
              <a:gd name="connsiteX3" fmla="*/ 482331 w 964663"/>
              <a:gd name="connsiteY3" fmla="*/ 4890833 h 4890833"/>
              <a:gd name="connsiteX4" fmla="*/ 482332 w 964663"/>
              <a:gd name="connsiteY4" fmla="*/ 4890832 h 4890833"/>
              <a:gd name="connsiteX5" fmla="*/ 0 w 964663"/>
              <a:gd name="connsiteY5" fmla="*/ 4408500 h 4890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4663" h="4890833">
                <a:moveTo>
                  <a:pt x="0" y="258480"/>
                </a:moveTo>
                <a:lnTo>
                  <a:pt x="964663" y="0"/>
                </a:lnTo>
                <a:lnTo>
                  <a:pt x="964663" y="4408501"/>
                </a:lnTo>
                <a:cubicBezTo>
                  <a:pt x="964663" y="4674886"/>
                  <a:pt x="748716" y="4890833"/>
                  <a:pt x="482331" y="4890833"/>
                </a:cubicBezTo>
                <a:lnTo>
                  <a:pt x="482332" y="4890832"/>
                </a:lnTo>
                <a:cubicBezTo>
                  <a:pt x="215947" y="4890832"/>
                  <a:pt x="0" y="4674885"/>
                  <a:pt x="0" y="4408500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BD764AA-01FA-C186-C3E0-47B71F33D2FE}"/>
              </a:ext>
            </a:extLst>
          </p:cNvPr>
          <p:cNvSpPr/>
          <p:nvPr userDrawn="1"/>
        </p:nvSpPr>
        <p:spPr>
          <a:xfrm rot="900000">
            <a:off x="10213216" y="2788075"/>
            <a:ext cx="964664" cy="4267468"/>
          </a:xfrm>
          <a:custGeom>
            <a:avLst/>
            <a:gdLst>
              <a:gd name="connsiteX0" fmla="*/ 385125 w 964664"/>
              <a:gd name="connsiteY0" fmla="*/ 9799 h 4267468"/>
              <a:gd name="connsiteX1" fmla="*/ 482332 w 964664"/>
              <a:gd name="connsiteY1" fmla="*/ 0 h 4267468"/>
              <a:gd name="connsiteX2" fmla="*/ 964664 w 964664"/>
              <a:gd name="connsiteY2" fmla="*/ 482332 h 4267468"/>
              <a:gd name="connsiteX3" fmla="*/ 964663 w 964664"/>
              <a:gd name="connsiteY3" fmla="*/ 4008987 h 4267468"/>
              <a:gd name="connsiteX4" fmla="*/ 0 w 964664"/>
              <a:gd name="connsiteY4" fmla="*/ 4267468 h 4267468"/>
              <a:gd name="connsiteX5" fmla="*/ 0 w 964664"/>
              <a:gd name="connsiteY5" fmla="*/ 482332 h 4267468"/>
              <a:gd name="connsiteX6" fmla="*/ 385125 w 964664"/>
              <a:gd name="connsiteY6" fmla="*/ 9799 h 4267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4664" h="4267468">
                <a:moveTo>
                  <a:pt x="385125" y="9799"/>
                </a:moveTo>
                <a:cubicBezTo>
                  <a:pt x="416524" y="3374"/>
                  <a:pt x="449033" y="0"/>
                  <a:pt x="482332" y="0"/>
                </a:cubicBezTo>
                <a:cubicBezTo>
                  <a:pt x="748717" y="0"/>
                  <a:pt x="964664" y="215947"/>
                  <a:pt x="964664" y="482332"/>
                </a:cubicBezTo>
                <a:lnTo>
                  <a:pt x="964663" y="4008987"/>
                </a:lnTo>
                <a:lnTo>
                  <a:pt x="0" y="4267468"/>
                </a:lnTo>
                <a:lnTo>
                  <a:pt x="0" y="482332"/>
                </a:lnTo>
                <a:cubicBezTo>
                  <a:pt x="0" y="249245"/>
                  <a:pt x="165334" y="54775"/>
                  <a:pt x="385125" y="979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F09451-D001-7FD7-10AE-3FDD420C1A42}"/>
              </a:ext>
            </a:extLst>
          </p:cNvPr>
          <p:cNvCxnSpPr>
            <a:cxnSpLocks/>
          </p:cNvCxnSpPr>
          <p:nvPr userDrawn="1"/>
        </p:nvCxnSpPr>
        <p:spPr>
          <a:xfrm flipH="1">
            <a:off x="9810345" y="1"/>
            <a:ext cx="1794438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1C1E0A2-F05B-FF80-96D1-66F6D9FFBBB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347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AB890B20-7C27-E743-AFC7-1377DA74242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352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22BC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4FF93C2E-32B2-FE2C-F18F-9788F2175F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89173" y="-2550982"/>
            <a:ext cx="4869143" cy="4869143"/>
          </a:xfrm>
          <a:prstGeom prst="rect">
            <a:avLst/>
          </a:prstGeom>
        </p:spPr>
      </p:pic>
      <p:pic>
        <p:nvPicPr>
          <p:cNvPr id="4" name="Picture 3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BB8D8F1B-E58E-642E-D1EB-4657A7C5E1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116668" y="3577656"/>
            <a:ext cx="4869143" cy="486914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5C3884C-8EF9-7DD2-10D2-A924A8EEEF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683638" y="-1362161"/>
            <a:ext cx="745764" cy="27243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4020A47-C743-17AB-FB88-D763942999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3373" y="1760935"/>
            <a:ext cx="1655762" cy="165576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B0BA0F1-DFFD-80E2-DC45-EF5EDD1801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22102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B683E75-4DB4-17DB-2052-835B3DB5B2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838140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5A73B61-CE51-EE7E-096D-54BFBB867D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3829535"/>
            <a:ext cx="5157787" cy="23761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44361D7-79E1-9D7B-F952-8638CE000E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72200" y="2838140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B1E8BB2F-FB4E-AA68-918D-02713270363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3829535"/>
            <a:ext cx="5183188" cy="23761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F6F91CB0-A38D-5F2B-D79E-0DC70B2DF0A4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845653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614157B-15ED-445A-9EDD-9B69523164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5845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614157B-15ED-445A-9EDD-9B6952316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>
            <a:extLst>
              <a:ext uri="{FF2B5EF4-FFF2-40B4-BE49-F238E27FC236}">
                <a16:creationId xmlns:a16="http://schemas.microsoft.com/office/drawing/2014/main" id="{0B57C2B3-6891-4DA8-9E01-921FE43EC8CC}"/>
              </a:ext>
            </a:extLst>
          </p:cNvPr>
          <p:cNvSpPr/>
          <p:nvPr userDrawn="1"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56769BE-FF24-4503-A0A8-1B23CBEBD978}"/>
              </a:ext>
            </a:extLst>
          </p:cNvPr>
          <p:cNvGrpSpPr/>
          <p:nvPr userDrawn="1"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976238AD-B809-4B3D-B0BE-6924176147F2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CBBA0F07-9D09-4B4F-BC5B-6F60FC6BEA68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7A447684-B90C-4C99-8A9D-50768288DCD4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16ED1A4D-1BBC-4AA2-B78E-D594D2AD580B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67DFF148-321E-48F0-B58B-2808223CF653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7483C700-D1E0-4A80-9751-DD46FD24D0BD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F2C91C4D-44ED-411B-9FDE-EB2699ED9B08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A6933F41-E031-46B0-BC1E-2255DA591C53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51AC78E0-8605-4A2C-A5E0-E2BF13578C98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1BEF7EBE-0A65-47DD-9378-DDFFF861C147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6FDD92EF-78C2-41E3-9849-821D6ED93F04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1DB4FD17-32B4-48B0-AD6E-E58FC5A964E3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F530362A-CC14-46AD-8AF4-F37632E8A9F1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25DC9BB9-F4AA-4592-ACE1-133D0A49063B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6590F224-3AE8-461D-A0A2-6AC8C6280C06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9EF452F0-5AA9-441C-BA9D-B30A3FB5E7FB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66A6130-1396-4D64-87C3-58B121F19519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36895299-970E-497E-85D4-C86635487913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D0B0A111-AC86-4432-9219-943869C6619B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605F8A74-54AE-4A77-BF5D-0E4A482660D6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9E02432C-76AD-4F2B-AECA-B20E080CFED7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FC28919-ED5E-4E8B-98AE-D594B2B91964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816F1871-A80D-4526-85C6-1A2AB93072AA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E157243A-7DAC-4244-9A5D-59FA3AF3790B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1B43125-5F2A-4430-912D-13E776DA3794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82" name="Graphic 81">
            <a:extLst>
              <a:ext uri="{FF2B5EF4-FFF2-40B4-BE49-F238E27FC236}">
                <a16:creationId xmlns:a16="http://schemas.microsoft.com/office/drawing/2014/main" id="{201B25E1-AB0E-4EB5-A9AF-1983CB34E87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969708" y="1566337"/>
            <a:ext cx="9687852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>
                  <a:schemeClr val="accent1"/>
                </a:buClr>
                <a:buFont typeface="Arial" panose="020B0604020202020204" pitchFamily="34" charset="0"/>
                <a:buChar char="+"/>
                <a:tabLst>
                  <a:tab pos="9512062" algn="l"/>
                </a:tabLst>
              </a:pPr>
              <a:r>
                <a:rPr lang="en-US" sz="18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8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8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6977266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5081388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8458115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969707" y="2097669"/>
            <a:ext cx="9687851" cy="369332"/>
            <a:chOff x="1797664" y="2616963"/>
            <a:chExt cx="8657274" cy="369332"/>
          </a:xfrm>
          <a:noFill/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>
                  <a:schemeClr val="accent1"/>
                </a:buClr>
                <a:buFont typeface="Arial" panose="020B0604020202020204" pitchFamily="34" charset="0"/>
                <a:buChar char="+"/>
                <a:tabLst>
                  <a:tab pos="9512062" algn="l"/>
                </a:tabLst>
              </a:pPr>
              <a:r>
                <a:rPr lang="en-US" sz="18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8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8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6976061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507251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8468205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437849" y="2427296"/>
            <a:ext cx="9163984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Tx/>
                <a:buFont typeface="Arial" panose="020B0604020202020204" pitchFamily="34" charset="0"/>
                <a:buChar char="•"/>
                <a:tabLst>
                  <a:tab pos="9512062" algn="l"/>
                </a:tabLst>
              </a:pPr>
              <a:r>
                <a:rPr lang="en-US" sz="16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6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6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026505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5124151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8508554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437847" y="2783817"/>
            <a:ext cx="9163983" cy="369332"/>
            <a:chOff x="2265804" y="3694411"/>
            <a:chExt cx="8189134" cy="369332"/>
          </a:xfrm>
          <a:noFill/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Tx/>
                <a:buFont typeface="Arial" panose="020B0604020202020204" pitchFamily="34" charset="0"/>
                <a:buChar char="•"/>
                <a:tabLst>
                  <a:tab pos="9512062" algn="l"/>
                </a:tabLst>
              </a:pPr>
              <a:r>
                <a:rPr lang="en-US" sz="16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6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6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026504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5134235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850855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 b="1"/>
                <a:t>&lt;DURATION&gt;</a:t>
              </a:r>
            </a:p>
          </p:txBody>
        </p:sp>
      </p:grpSp>
      <p:sp>
        <p:nvSpPr>
          <p:cNvPr id="52" name="Title 1">
            <a:extLst>
              <a:ext uri="{FF2B5EF4-FFF2-40B4-BE49-F238E27FC236}">
                <a16:creationId xmlns:a16="http://schemas.microsoft.com/office/drawing/2014/main" id="{3F6B5101-F0DA-4DEA-9130-F26443CAEBFB}"/>
              </a:ext>
            </a:extLst>
          </p:cNvPr>
          <p:cNvSpPr>
            <a:spLocks noGrp="1"/>
          </p:cNvSpPr>
          <p:nvPr userDrawn="1">
            <p:ph type="title" sz="quarter" idx="14" hasCustomPrompt="1"/>
          </p:nvPr>
        </p:nvSpPr>
        <p:spPr>
          <a:xfrm>
            <a:off x="1973995" y="861658"/>
            <a:ext cx="9163983" cy="557611"/>
          </a:xfrm>
          <a:prstGeom prst="rect">
            <a:avLst/>
          </a:prstGeom>
        </p:spPr>
        <p:txBody>
          <a:bodyPr/>
          <a:lstStyle>
            <a:lvl1pPr>
              <a:defRPr lang="en-US" sz="32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53460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23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2F00995-10B9-4A6A-A2A1-D8A31142B41D}"/>
              </a:ext>
            </a:extLst>
          </p:cNvPr>
          <p:cNvSpPr/>
          <p:nvPr userDrawn="1"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9C9D346-85EB-40B2-8A2B-19DB2A92DB2A}"/>
              </a:ext>
            </a:extLst>
          </p:cNvPr>
          <p:cNvGrpSpPr/>
          <p:nvPr userDrawn="1"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EC268BA-C08A-4C38-97B6-E94209031785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AC0A5C8E-81CB-414E-A1C6-77485EDBFC17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0A73BE3A-3964-409D-9E42-4EB69AD5953D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9A92D2EB-3DBC-490E-9DE6-A92EF29FE7E2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153A842-B929-48CB-AC66-68DD2D7ED4D2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A3A6D6D3-9DC7-41F4-AC58-52BDA1658FE3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AC7A9326-EAFC-4BAF-BD47-91FF55716EE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66675D94-1BEA-4F59-867F-291905A75405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C137B59-F0EB-480E-952E-51A98CA99A32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EDAD1D9C-8748-4EC9-AD40-477548367950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FF2B152B-EE67-4339-A086-F1E97AAEF67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D80C8650-55C9-4ED2-B40D-671610C2D69F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F016A28-1188-4CF9-A204-346551675888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1F0BBD90-3BB0-4D0C-B89D-7E109C4092D2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3D9233E7-53E5-4B79-82EA-2FE7639DA27D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468CFD81-83EF-41DD-B6FB-6828FFB099DC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F872365B-E981-4D60-893C-E24687F967AA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A4BD07C3-2F57-48F4-B516-D42D36912922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3F796E19-36EC-4E6A-8CAE-97721033032D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E142AC5-EE61-4F8A-9941-60615E682C21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43EB0B0-5EC9-43DD-A335-A8A5722F2E8C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AE73A40-5122-4D00-814E-72F7502483D0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178B33C-2AF6-478C-94A2-893456F15E89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79D8600-BF22-41AD-AF89-75D968F92C72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D59CC96-A48C-4AC4-AE70-D24AB2FB8D16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45" name="Graphic 44">
            <a:extLst>
              <a:ext uri="{FF2B5EF4-FFF2-40B4-BE49-F238E27FC236}">
                <a16:creationId xmlns:a16="http://schemas.microsoft.com/office/drawing/2014/main" id="{935AE6DF-F5B6-4C49-9F72-CF1C8061190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88" name="Title 1">
            <a:extLst>
              <a:ext uri="{FF2B5EF4-FFF2-40B4-BE49-F238E27FC236}">
                <a16:creationId xmlns:a16="http://schemas.microsoft.com/office/drawing/2014/main" id="{D6B9EAB4-6E88-49E6-A646-370B36253FD6}"/>
              </a:ext>
            </a:extLst>
          </p:cNvPr>
          <p:cNvSpPr>
            <a:spLocks noGrp="1"/>
          </p:cNvSpPr>
          <p:nvPr>
            <p:ph type="title" sz="quarter" idx="14" hasCustomPrompt="1"/>
          </p:nvPr>
        </p:nvSpPr>
        <p:spPr>
          <a:xfrm>
            <a:off x="1973995" y="861658"/>
            <a:ext cx="9163983" cy="557611"/>
          </a:xfrm>
          <a:prstGeom prst="rect">
            <a:avLst/>
          </a:prstGeom>
        </p:spPr>
        <p:txBody>
          <a:bodyPr/>
          <a:lstStyle>
            <a:lvl1pPr>
              <a:defRPr lang="en-US" sz="32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grpSp>
        <p:nvGrpSpPr>
          <p:cNvPr id="131" name="SP Agenda Section" hidden="1">
            <a:extLst>
              <a:ext uri="{FF2B5EF4-FFF2-40B4-BE49-F238E27FC236}">
                <a16:creationId xmlns:a16="http://schemas.microsoft.com/office/drawing/2014/main" id="{21AB9CC0-C368-4852-9236-7A04591F0217}"/>
              </a:ext>
            </a:extLst>
          </p:cNvPr>
          <p:cNvGrpSpPr/>
          <p:nvPr userDrawn="1"/>
        </p:nvGrpSpPr>
        <p:grpSpPr>
          <a:xfrm>
            <a:off x="1969708" y="1566337"/>
            <a:ext cx="9687852" cy="369332"/>
            <a:chOff x="1797664" y="2085631"/>
            <a:chExt cx="8657274" cy="369332"/>
          </a:xfrm>
        </p:grpSpPr>
        <p:sp>
          <p:nvSpPr>
            <p:cNvPr id="132" name="Textbox" hidden="1">
              <a:extLst>
                <a:ext uri="{FF2B5EF4-FFF2-40B4-BE49-F238E27FC236}">
                  <a16:creationId xmlns:a16="http://schemas.microsoft.com/office/drawing/2014/main" id="{3AB182DB-D8C0-4F05-B8C9-681A6EC8A82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>
                  <a:schemeClr val="accent1"/>
                </a:buClr>
                <a:buFont typeface="Arial" panose="020B0604020202020204" pitchFamily="34" charset="0"/>
                <a:buChar char="+"/>
                <a:tabLst>
                  <a:tab pos="9512062" algn="l"/>
                </a:tabLst>
              </a:pPr>
              <a:r>
                <a:rPr lang="en-US" sz="1800"/>
                <a:t>&lt;TEXT&gt;</a:t>
              </a:r>
            </a:p>
          </p:txBody>
        </p:sp>
        <p:sp>
          <p:nvSpPr>
            <p:cNvPr id="133" name="Textbox" hidden="1">
              <a:extLst>
                <a:ext uri="{FF2B5EF4-FFF2-40B4-BE49-F238E27FC236}">
                  <a16:creationId xmlns:a16="http://schemas.microsoft.com/office/drawing/2014/main" id="{1F506675-9953-420C-89AA-C48CBADE5AD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800"/>
                <a:t>&lt;N&gt;</a:t>
              </a:r>
            </a:p>
          </p:txBody>
        </p:sp>
        <p:sp>
          <p:nvSpPr>
            <p:cNvPr id="134" name="Textbox" hidden="1">
              <a:extLst>
                <a:ext uri="{FF2B5EF4-FFF2-40B4-BE49-F238E27FC236}">
                  <a16:creationId xmlns:a16="http://schemas.microsoft.com/office/drawing/2014/main" id="{D7797BBE-CC80-4DBD-8171-2402556AAA7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800"/>
                <a:t>&lt;P&gt;</a:t>
              </a:r>
            </a:p>
          </p:txBody>
        </p:sp>
        <p:sp>
          <p:nvSpPr>
            <p:cNvPr id="135" name="Textbox" hidden="1">
              <a:extLst>
                <a:ext uri="{FF2B5EF4-FFF2-40B4-BE49-F238E27FC236}">
                  <a16:creationId xmlns:a16="http://schemas.microsoft.com/office/drawing/2014/main" id="{C0C0C783-AD38-40F8-99C4-2E90BDEEFE3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77266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/>
                <a:t>&lt;TIMESLOT&gt;</a:t>
              </a:r>
            </a:p>
          </p:txBody>
        </p:sp>
        <p:sp>
          <p:nvSpPr>
            <p:cNvPr id="136" name="Textbox" hidden="1">
              <a:extLst>
                <a:ext uri="{FF2B5EF4-FFF2-40B4-BE49-F238E27FC236}">
                  <a16:creationId xmlns:a16="http://schemas.microsoft.com/office/drawing/2014/main" id="{272C9E9E-6641-4422-93BE-737BE02E753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081388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/>
                <a:t>&lt;RESPONSIBLE&gt;</a:t>
              </a:r>
            </a:p>
          </p:txBody>
        </p:sp>
        <p:sp>
          <p:nvSpPr>
            <p:cNvPr id="137" name="Textbox" hidden="1">
              <a:extLst>
                <a:ext uri="{FF2B5EF4-FFF2-40B4-BE49-F238E27FC236}">
                  <a16:creationId xmlns:a16="http://schemas.microsoft.com/office/drawing/2014/main" id="{89D1EE13-FE88-4A51-9BBF-320DFE84878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458115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/>
                <a:t>&lt;DURATION&gt;</a:t>
              </a:r>
            </a:p>
          </p:txBody>
        </p:sp>
      </p:grpSp>
      <p:grpSp>
        <p:nvGrpSpPr>
          <p:cNvPr id="138" name="SP Agenda Section Highlight" hidden="1">
            <a:extLst>
              <a:ext uri="{FF2B5EF4-FFF2-40B4-BE49-F238E27FC236}">
                <a16:creationId xmlns:a16="http://schemas.microsoft.com/office/drawing/2014/main" id="{4F5D7C69-1EDC-456E-86E7-4B93FE001C11}"/>
              </a:ext>
            </a:extLst>
          </p:cNvPr>
          <p:cNvGrpSpPr>
            <a:grpSpLocks/>
          </p:cNvGrpSpPr>
          <p:nvPr userDrawn="1"/>
        </p:nvGrpSpPr>
        <p:grpSpPr>
          <a:xfrm>
            <a:off x="1969707" y="2097669"/>
            <a:ext cx="9687851" cy="369332"/>
            <a:chOff x="1797664" y="2616963"/>
            <a:chExt cx="8657274" cy="369332"/>
          </a:xfrm>
          <a:noFill/>
        </p:grpSpPr>
        <p:sp>
          <p:nvSpPr>
            <p:cNvPr id="139" name="Textbox" hidden="1">
              <a:extLst>
                <a:ext uri="{FF2B5EF4-FFF2-40B4-BE49-F238E27FC236}">
                  <a16:creationId xmlns:a16="http://schemas.microsoft.com/office/drawing/2014/main" id="{4F0651FC-CCAE-4CA5-A306-3D32FEDE000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>
                  <a:schemeClr val="accent1"/>
                </a:buClr>
                <a:buFont typeface="Arial" panose="020B0604020202020204" pitchFamily="34" charset="0"/>
                <a:buChar char="+"/>
                <a:tabLst>
                  <a:tab pos="9512062" algn="l"/>
                </a:tabLst>
              </a:pPr>
              <a:r>
                <a:rPr lang="en-US" sz="1800" b="1"/>
                <a:t>&lt;TEXT&gt;</a:t>
              </a:r>
            </a:p>
          </p:txBody>
        </p:sp>
        <p:sp>
          <p:nvSpPr>
            <p:cNvPr id="140" name="Textbox" hidden="1">
              <a:extLst>
                <a:ext uri="{FF2B5EF4-FFF2-40B4-BE49-F238E27FC236}">
                  <a16:creationId xmlns:a16="http://schemas.microsoft.com/office/drawing/2014/main" id="{2BECDC34-551C-4469-8214-32EF54DCFAD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800" b="1"/>
                <a:t>&lt;N&gt;</a:t>
              </a:r>
            </a:p>
          </p:txBody>
        </p:sp>
        <p:sp>
          <p:nvSpPr>
            <p:cNvPr id="141" name="Textbox" hidden="1">
              <a:extLst>
                <a:ext uri="{FF2B5EF4-FFF2-40B4-BE49-F238E27FC236}">
                  <a16:creationId xmlns:a16="http://schemas.microsoft.com/office/drawing/2014/main" id="{5410C8DF-1809-4F92-9F49-4AC74B1A548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800" b="1"/>
                <a:t>&lt;P&gt;</a:t>
              </a:r>
            </a:p>
          </p:txBody>
        </p:sp>
        <p:sp>
          <p:nvSpPr>
            <p:cNvPr id="142" name="Textbox" hidden="1">
              <a:extLst>
                <a:ext uri="{FF2B5EF4-FFF2-40B4-BE49-F238E27FC236}">
                  <a16:creationId xmlns:a16="http://schemas.microsoft.com/office/drawing/2014/main" id="{6431383D-2892-4E73-8488-8D1B40D006E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76061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 b="1"/>
                <a:t>&lt;TIMESLOT&gt;</a:t>
              </a:r>
            </a:p>
          </p:txBody>
        </p:sp>
        <p:sp>
          <p:nvSpPr>
            <p:cNvPr id="143" name="Textbox" hidden="1">
              <a:extLst>
                <a:ext uri="{FF2B5EF4-FFF2-40B4-BE49-F238E27FC236}">
                  <a16:creationId xmlns:a16="http://schemas.microsoft.com/office/drawing/2014/main" id="{B69DE84F-D505-4E24-9398-1FC53DCE647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07251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 b="1"/>
                <a:t>&lt;RESPONSIBLE&gt;</a:t>
              </a:r>
            </a:p>
          </p:txBody>
        </p:sp>
        <p:sp>
          <p:nvSpPr>
            <p:cNvPr id="144" name="Textbox" hidden="1">
              <a:extLst>
                <a:ext uri="{FF2B5EF4-FFF2-40B4-BE49-F238E27FC236}">
                  <a16:creationId xmlns:a16="http://schemas.microsoft.com/office/drawing/2014/main" id="{D44178F6-90C8-4BE0-89E1-80FF5554FC4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468205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 b="1"/>
                <a:t>&lt;DURATION&gt;</a:t>
              </a:r>
            </a:p>
          </p:txBody>
        </p:sp>
      </p:grpSp>
      <p:grpSp>
        <p:nvGrpSpPr>
          <p:cNvPr id="145" name="SP Agenda Subsection" hidden="1">
            <a:extLst>
              <a:ext uri="{FF2B5EF4-FFF2-40B4-BE49-F238E27FC236}">
                <a16:creationId xmlns:a16="http://schemas.microsoft.com/office/drawing/2014/main" id="{8C75163C-59E1-444D-9DEA-A211F316EF35}"/>
              </a:ext>
            </a:extLst>
          </p:cNvPr>
          <p:cNvGrpSpPr>
            <a:grpSpLocks/>
          </p:cNvGrpSpPr>
          <p:nvPr userDrawn="1"/>
        </p:nvGrpSpPr>
        <p:grpSpPr>
          <a:xfrm>
            <a:off x="2437849" y="2427296"/>
            <a:ext cx="9163984" cy="369332"/>
            <a:chOff x="2265804" y="3155687"/>
            <a:chExt cx="8189134" cy="369332"/>
          </a:xfrm>
        </p:grpSpPr>
        <p:sp>
          <p:nvSpPr>
            <p:cNvPr id="146" name="Textbox" hidden="1">
              <a:extLst>
                <a:ext uri="{FF2B5EF4-FFF2-40B4-BE49-F238E27FC236}">
                  <a16:creationId xmlns:a16="http://schemas.microsoft.com/office/drawing/2014/main" id="{5435EDBE-4B46-479E-A3EE-8BE2AEAA56A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Tx/>
                <a:buFont typeface="Arial" panose="020B0604020202020204" pitchFamily="34" charset="0"/>
                <a:buChar char="•"/>
                <a:tabLst>
                  <a:tab pos="9512062" algn="l"/>
                </a:tabLst>
              </a:pPr>
              <a:r>
                <a:rPr lang="en-US" sz="1600"/>
                <a:t>&lt;TEXT&gt;</a:t>
              </a:r>
            </a:p>
          </p:txBody>
        </p:sp>
        <p:sp>
          <p:nvSpPr>
            <p:cNvPr id="147" name="Textbox" hidden="1">
              <a:extLst>
                <a:ext uri="{FF2B5EF4-FFF2-40B4-BE49-F238E27FC236}">
                  <a16:creationId xmlns:a16="http://schemas.microsoft.com/office/drawing/2014/main" id="{250997A5-3479-4B8B-95FE-94C2315C044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600"/>
                <a:t>&lt;N&gt;</a:t>
              </a:r>
            </a:p>
          </p:txBody>
        </p:sp>
        <p:sp>
          <p:nvSpPr>
            <p:cNvPr id="148" name="Textbox" hidden="1">
              <a:extLst>
                <a:ext uri="{FF2B5EF4-FFF2-40B4-BE49-F238E27FC236}">
                  <a16:creationId xmlns:a16="http://schemas.microsoft.com/office/drawing/2014/main" id="{107FC083-CF43-4321-BD28-41171A6B15B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600"/>
                <a:t>&lt;P&gt;</a:t>
              </a:r>
            </a:p>
          </p:txBody>
        </p:sp>
        <p:sp>
          <p:nvSpPr>
            <p:cNvPr id="149" name="Textbox" hidden="1">
              <a:extLst>
                <a:ext uri="{FF2B5EF4-FFF2-40B4-BE49-F238E27FC236}">
                  <a16:creationId xmlns:a16="http://schemas.microsoft.com/office/drawing/2014/main" id="{231F4168-70DA-47DC-B87F-8463217646E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026505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/>
                <a:t>&lt;TIMESLOT&gt;</a:t>
              </a:r>
            </a:p>
          </p:txBody>
        </p:sp>
        <p:sp>
          <p:nvSpPr>
            <p:cNvPr id="150" name="Textbox" hidden="1">
              <a:extLst>
                <a:ext uri="{FF2B5EF4-FFF2-40B4-BE49-F238E27FC236}">
                  <a16:creationId xmlns:a16="http://schemas.microsoft.com/office/drawing/2014/main" id="{17FB603F-741C-48A6-8DEA-F7491E96E98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124151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/>
                <a:t>&lt;RESPONSIBLE&gt;</a:t>
              </a:r>
            </a:p>
          </p:txBody>
        </p:sp>
        <p:sp>
          <p:nvSpPr>
            <p:cNvPr id="151" name="Textbox" hidden="1">
              <a:extLst>
                <a:ext uri="{FF2B5EF4-FFF2-40B4-BE49-F238E27FC236}">
                  <a16:creationId xmlns:a16="http://schemas.microsoft.com/office/drawing/2014/main" id="{F731F62F-12E6-4CED-B13E-9E9F2551B2B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508554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/>
                <a:t>&lt;DURATION&gt;</a:t>
              </a:r>
            </a:p>
          </p:txBody>
        </p:sp>
      </p:grpSp>
      <p:grpSp>
        <p:nvGrpSpPr>
          <p:cNvPr id="152" name="SP Agenda Subsection Highlight" hidden="1">
            <a:extLst>
              <a:ext uri="{FF2B5EF4-FFF2-40B4-BE49-F238E27FC236}">
                <a16:creationId xmlns:a16="http://schemas.microsoft.com/office/drawing/2014/main" id="{D7F81F7A-5B11-43C7-967D-8D403A43E417}"/>
              </a:ext>
            </a:extLst>
          </p:cNvPr>
          <p:cNvGrpSpPr>
            <a:grpSpLocks/>
          </p:cNvGrpSpPr>
          <p:nvPr userDrawn="1"/>
        </p:nvGrpSpPr>
        <p:grpSpPr>
          <a:xfrm>
            <a:off x="2437847" y="2783817"/>
            <a:ext cx="9163983" cy="369332"/>
            <a:chOff x="2265804" y="3694411"/>
            <a:chExt cx="8189134" cy="369332"/>
          </a:xfrm>
          <a:noFill/>
        </p:grpSpPr>
        <p:sp>
          <p:nvSpPr>
            <p:cNvPr id="153" name="Textbox" hidden="1">
              <a:extLst>
                <a:ext uri="{FF2B5EF4-FFF2-40B4-BE49-F238E27FC236}">
                  <a16:creationId xmlns:a16="http://schemas.microsoft.com/office/drawing/2014/main" id="{BF297698-0EFA-4C5B-B190-460E5A56A5D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Tx/>
                <a:buFont typeface="Arial" panose="020B0604020202020204" pitchFamily="34" charset="0"/>
                <a:buChar char="•"/>
                <a:tabLst>
                  <a:tab pos="9512062" algn="l"/>
                </a:tabLst>
              </a:pPr>
              <a:r>
                <a:rPr lang="en-US" sz="1600" b="1"/>
                <a:t>&lt;TEXT&gt;</a:t>
              </a:r>
            </a:p>
          </p:txBody>
        </p:sp>
        <p:sp>
          <p:nvSpPr>
            <p:cNvPr id="154" name="Textbox" hidden="1">
              <a:extLst>
                <a:ext uri="{FF2B5EF4-FFF2-40B4-BE49-F238E27FC236}">
                  <a16:creationId xmlns:a16="http://schemas.microsoft.com/office/drawing/2014/main" id="{7E145D72-54FC-4BAA-8426-B9D43E99C8E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600" b="1"/>
                <a:t>&lt;N&gt;</a:t>
              </a:r>
            </a:p>
          </p:txBody>
        </p:sp>
        <p:sp>
          <p:nvSpPr>
            <p:cNvPr id="155" name="Textbox" hidden="1">
              <a:extLst>
                <a:ext uri="{FF2B5EF4-FFF2-40B4-BE49-F238E27FC236}">
                  <a16:creationId xmlns:a16="http://schemas.microsoft.com/office/drawing/2014/main" id="{905200E7-7D6E-4141-93B5-341DFE3E1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600" b="1"/>
                <a:t>&lt;P&gt;</a:t>
              </a:r>
            </a:p>
          </p:txBody>
        </p:sp>
        <p:sp>
          <p:nvSpPr>
            <p:cNvPr id="156" name="Textbox" hidden="1">
              <a:extLst>
                <a:ext uri="{FF2B5EF4-FFF2-40B4-BE49-F238E27FC236}">
                  <a16:creationId xmlns:a16="http://schemas.microsoft.com/office/drawing/2014/main" id="{88E53779-D335-4E6B-B08E-61D09E0B416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026504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 b="1"/>
                <a:t>&lt;TIMESLOT&gt;</a:t>
              </a:r>
            </a:p>
          </p:txBody>
        </p:sp>
        <p:sp>
          <p:nvSpPr>
            <p:cNvPr id="157" name="Textbox" hidden="1">
              <a:extLst>
                <a:ext uri="{FF2B5EF4-FFF2-40B4-BE49-F238E27FC236}">
                  <a16:creationId xmlns:a16="http://schemas.microsoft.com/office/drawing/2014/main" id="{5658D305-2858-403B-AE34-055F6D3B3D0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134235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 b="1"/>
                <a:t>&lt;RESPONSIBLE&gt;</a:t>
              </a:r>
            </a:p>
          </p:txBody>
        </p:sp>
        <p:sp>
          <p:nvSpPr>
            <p:cNvPr id="158" name="Textbox" hidden="1">
              <a:extLst>
                <a:ext uri="{FF2B5EF4-FFF2-40B4-BE49-F238E27FC236}">
                  <a16:creationId xmlns:a16="http://schemas.microsoft.com/office/drawing/2014/main" id="{BB8F9753-FA9F-470A-922A-19B7C7E8EDF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50855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 b="1"/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43499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7F81F4F-A378-AEF4-662F-9CDCCC6D18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680438" y="-1362161"/>
            <a:ext cx="745764" cy="27243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CA0414E-B0E5-2546-910C-E13E6DB0F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65CEE1B-8BDB-08D5-1469-D177B3BD562B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pic>
        <p:nvPicPr>
          <p:cNvPr id="2" name="Picture 1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FC51DEB1-ED5F-CD5D-E08B-32B717FD358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976996" y="-3579270"/>
            <a:ext cx="4869143" cy="4869143"/>
          </a:xfrm>
          <a:prstGeom prst="rect">
            <a:avLst/>
          </a:prstGeom>
        </p:spPr>
      </p:pic>
      <p:pic>
        <p:nvPicPr>
          <p:cNvPr id="3" name="Picture 2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3FE79465-4B7A-2FC1-F413-A5E8061048E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3411627" y="4003159"/>
            <a:ext cx="3904697" cy="39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7131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rgbClr val="0096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44155826-9C83-7D46-4DD6-9E5BA692E6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69145" y="-2069447"/>
            <a:ext cx="4869143" cy="4869143"/>
          </a:xfrm>
          <a:prstGeom prst="rect">
            <a:avLst/>
          </a:prstGeom>
        </p:spPr>
      </p:pic>
      <p:pic>
        <p:nvPicPr>
          <p:cNvPr id="6" name="Picture 5" descr="A black circle with grey lines&#10;&#10;Description automatically generated">
            <a:extLst>
              <a:ext uri="{FF2B5EF4-FFF2-40B4-BE49-F238E27FC236}">
                <a16:creationId xmlns:a16="http://schemas.microsoft.com/office/drawing/2014/main" id="{C02971DE-D91F-0473-1BC5-9744B1C44A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411627" y="4003159"/>
            <a:ext cx="3904697" cy="390469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7F81F4F-A378-AEF4-662F-9CDCCC6D18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038413" y="5503596"/>
            <a:ext cx="745764" cy="27243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CA0414E-B0E5-2546-910C-E13E6DB0F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819417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65CEE1B-8BDB-08D5-1469-D177B3BD562B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>
                <a:solidFill>
                  <a:schemeClr val="bg1"/>
                </a:solidFill>
              </a:rPr>
              <a:pPr/>
              <a:t>‹#›</a:t>
            </a:fld>
            <a:endParaRPr lang="en-US" b="1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0D5155-F22C-E471-08EF-38763A8C7BA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17562" y="-692301"/>
            <a:ext cx="1655762" cy="1655762"/>
          </a:xfrm>
          <a:prstGeom prst="rect">
            <a:avLst/>
          </a:prstGeom>
        </p:spPr>
      </p:pic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3C03BC15-4460-27E5-0D1D-49A07A1AF5A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838200" y="1891996"/>
            <a:ext cx="7820025" cy="41586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7889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bg>
      <p:bgPr>
        <a:solidFill>
          <a:srgbClr val="ECF0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238BA8FC-22BB-5151-9462-33FC08AEAB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587504" y="5495839"/>
            <a:ext cx="745764" cy="2724322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3B0DFCF6-C03D-C7DE-194E-CD53DEC4D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>
            <a:lvl1pPr>
              <a:defRPr>
                <a:solidFill>
                  <a:srgbClr val="44424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2" name="Picture 1" descr="A blue and black circle with black lines&#10;&#10;Description automatically generated">
            <a:extLst>
              <a:ext uri="{FF2B5EF4-FFF2-40B4-BE49-F238E27FC236}">
                <a16:creationId xmlns:a16="http://schemas.microsoft.com/office/drawing/2014/main" id="{AA180F42-E6D0-10D9-BF85-55E0EF1DBD5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2548" y="-3067766"/>
            <a:ext cx="4439614" cy="443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915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9" Type="http://schemas.openxmlformats.org/officeDocument/2006/relationships/image" Target="../media/image7.emf"/><Relationship Id="rId21" Type="http://schemas.openxmlformats.org/officeDocument/2006/relationships/slideLayout" Target="../slideLayouts/slideLayout47.xml"/><Relationship Id="rId34" Type="http://schemas.openxmlformats.org/officeDocument/2006/relationships/slideLayout" Target="../slideLayouts/slideLayout60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slideLayout" Target="../slideLayouts/slideLayout59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slideLayout" Target="../slideLayouts/slideLayout58.xml"/><Relationship Id="rId37" Type="http://schemas.openxmlformats.org/officeDocument/2006/relationships/tags" Target="../tags/tag1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slideLayout" Target="../slideLayouts/slideLayout57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Relationship Id="rId35" Type="http://schemas.openxmlformats.org/officeDocument/2006/relationships/slideLayout" Target="../slideLayouts/slideLayout61.xml"/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F0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B12D549-E193-7A46-C251-698E3F3B4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72391"/>
            <a:ext cx="8772728" cy="70173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6A0AF6-3825-CA16-531F-A29B43D196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720975"/>
            <a:ext cx="8772728" cy="2117631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DCF06EE-A5AE-7E20-418E-30096492B8E9}"/>
              </a:ext>
            </a:extLst>
          </p:cNvPr>
          <p:cNvSpPr txBox="1">
            <a:spLocks/>
          </p:cNvSpPr>
          <p:nvPr userDrawn="1"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B448FE-F3DA-4649-9A42-31406BAB64E6}" type="slidenum">
              <a:rPr lang="en-US" b="1" smtClean="0"/>
              <a:pPr/>
              <a:t>‹#›</a:t>
            </a:fld>
            <a:endParaRPr lang="en-US" b="1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6E86F43B-CA48-6C1A-52EC-4016A6CC9C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1804" y="6190905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842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81" r:id="rId14"/>
    <p:sldLayoutId id="2147483782" r:id="rId15"/>
    <p:sldLayoutId id="2147483783" r:id="rId16"/>
    <p:sldLayoutId id="2147483784" r:id="rId17"/>
    <p:sldLayoutId id="2147483785" r:id="rId18"/>
    <p:sldLayoutId id="2147483786" r:id="rId19"/>
    <p:sldLayoutId id="2147483787" r:id="rId20"/>
    <p:sldLayoutId id="2147483788" r:id="rId21"/>
    <p:sldLayoutId id="2147483789" r:id="rId22"/>
    <p:sldLayoutId id="2147483790" r:id="rId23"/>
    <p:sldLayoutId id="2147483791" r:id="rId24"/>
    <p:sldLayoutId id="2147483792" r:id="rId25"/>
    <p:sldLayoutId id="2147483793" r:id="rId2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44424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</p:titleStyle>
    <p:bodyStyle>
      <a:lvl1pPr marL="228600" indent="-228600" algn="l" defTabSz="914400" rtl="0" eaLnBrk="1" latinLnBrk="0" hangingPunct="1">
        <a:lnSpc>
          <a:spcPts val="28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rgbClr val="44424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  <a:lvl2pPr marL="685800" indent="-228600" algn="l" defTabSz="914400" rtl="0" eaLnBrk="1" latinLnBrk="0" hangingPunct="1">
        <a:lnSpc>
          <a:spcPts val="28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44424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2pPr>
      <a:lvl3pPr marL="1143000" indent="-228600" algn="l" defTabSz="914400" rtl="0" eaLnBrk="1" latinLnBrk="0" hangingPunct="1">
        <a:lnSpc>
          <a:spcPts val="28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44424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3pPr>
      <a:lvl4pPr marL="1600200" indent="-228600" algn="l" defTabSz="914400" rtl="0" eaLnBrk="1" latinLnBrk="0" hangingPunct="1">
        <a:lnSpc>
          <a:spcPts val="28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44424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4pPr>
      <a:lvl5pPr marL="2057400" indent="-228600" algn="l" defTabSz="914400" rtl="0" eaLnBrk="1" latinLnBrk="0" hangingPunct="1">
        <a:lnSpc>
          <a:spcPts val="28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44424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0817964-17AC-B6E0-C22F-2EDFECEED4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650131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0" imgH="411" progId="TCLayout.ActiveDocument.1">
                  <p:embed/>
                </p:oleObj>
              </mc:Choice>
              <mc:Fallback>
                <p:oleObj name="think-cell Slide" r:id="rId38" imgW="410" imgH="41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817964-17AC-B6E0-C22F-2EDFECEED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3.0.0)</a:t>
            </a:r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5% Charcoal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Indigo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G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34326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0" r:id="rId1"/>
    <p:sldLayoutId id="2147484331" r:id="rId2"/>
    <p:sldLayoutId id="2147484332" r:id="rId3"/>
    <p:sldLayoutId id="2147484333" r:id="rId4"/>
    <p:sldLayoutId id="2147484334" r:id="rId5"/>
    <p:sldLayoutId id="2147484335" r:id="rId6"/>
    <p:sldLayoutId id="2147484336" r:id="rId7"/>
    <p:sldLayoutId id="2147484337" r:id="rId8"/>
    <p:sldLayoutId id="2147484338" r:id="rId9"/>
    <p:sldLayoutId id="2147484339" r:id="rId10"/>
    <p:sldLayoutId id="2147484340" r:id="rId11"/>
    <p:sldLayoutId id="2147484341" r:id="rId12"/>
    <p:sldLayoutId id="2147484342" r:id="rId13"/>
    <p:sldLayoutId id="2147484343" r:id="rId14"/>
    <p:sldLayoutId id="2147484344" r:id="rId15"/>
    <p:sldLayoutId id="2147484345" r:id="rId16"/>
    <p:sldLayoutId id="2147484346" r:id="rId17"/>
    <p:sldLayoutId id="2147484347" r:id="rId18"/>
    <p:sldLayoutId id="2147484348" r:id="rId19"/>
    <p:sldLayoutId id="2147484349" r:id="rId20"/>
    <p:sldLayoutId id="2147484350" r:id="rId21"/>
    <p:sldLayoutId id="2147484351" r:id="rId22"/>
    <p:sldLayoutId id="2147484352" r:id="rId23"/>
    <p:sldLayoutId id="2147484353" r:id="rId24"/>
    <p:sldLayoutId id="2147484354" r:id="rId25"/>
    <p:sldLayoutId id="2147484355" r:id="rId26"/>
    <p:sldLayoutId id="2147484356" r:id="rId27"/>
    <p:sldLayoutId id="2147484357" r:id="rId28"/>
    <p:sldLayoutId id="2147484358" r:id="rId29"/>
    <p:sldLayoutId id="2147484359" r:id="rId30"/>
    <p:sldLayoutId id="2147484360" r:id="rId31"/>
    <p:sldLayoutId id="2147484361" r:id="rId32"/>
    <p:sldLayoutId id="2147484362" r:id="rId33"/>
    <p:sldLayoutId id="2147484363" r:id="rId34"/>
    <p:sldLayoutId id="2147484364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7.png"/><Relationship Id="rId4" Type="http://schemas.openxmlformats.org/officeDocument/2006/relationships/image" Target="../media/image3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3" Type="http://schemas.openxmlformats.org/officeDocument/2006/relationships/notesSlide" Target="../notesSlides/notesSlide2.xml"/><Relationship Id="rId7" Type="http://schemas.openxmlformats.org/officeDocument/2006/relationships/hyperlink" Target="https://www.wired.it/economia/business/2019/12/27/fallimenti-decennio/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2.jpg"/><Relationship Id="rId5" Type="http://schemas.openxmlformats.org/officeDocument/2006/relationships/hyperlink" Target="https://sefiks.com/category/technology/" TargetMode="External"/><Relationship Id="rId4" Type="http://schemas.openxmlformats.org/officeDocument/2006/relationships/image" Target="../media/image21.jpg"/><Relationship Id="rId9" Type="http://schemas.openxmlformats.org/officeDocument/2006/relationships/hyperlink" Target="https://managementcue.it/netflix-vs-blockbuster-pirateria/8304/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2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798C6B-E772-8D79-BF84-831C3439EB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9001" y="2445909"/>
            <a:ext cx="8639585" cy="1754326"/>
          </a:xfrm>
        </p:spPr>
        <p:txBody>
          <a:bodyPr wrap="square">
            <a:spAutoFit/>
          </a:bodyPr>
          <a:lstStyle/>
          <a:p>
            <a:r>
              <a:rPr lang="en-US" sz="4000" dirty="0">
                <a:latin typeface="Roboto"/>
                <a:ea typeface="Roboto"/>
                <a:cs typeface="Roboto"/>
              </a:rPr>
              <a:t>How to make your pharmacy services - ready for the NHS 10-year revolu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44F4C7-94AA-5D35-1C4F-9F375A8597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5687" y="4604037"/>
            <a:ext cx="6725630" cy="451406"/>
          </a:xfrm>
        </p:spPr>
        <p:txBody>
          <a:bodyPr wrap="square">
            <a:spAutoFit/>
          </a:bodyPr>
          <a:lstStyle/>
          <a:p>
            <a:r>
              <a:rPr lang="en-US" b="1" dirty="0"/>
              <a:t>NPA- Baldev Raj Bange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04325D-57DD-2465-FFB2-2ED423C0C108}"/>
              </a:ext>
            </a:extLst>
          </p:cNvPr>
          <p:cNvSpPr/>
          <p:nvPr/>
        </p:nvSpPr>
        <p:spPr>
          <a:xfrm>
            <a:off x="527042" y="4262082"/>
            <a:ext cx="618165" cy="70507"/>
          </a:xfrm>
          <a:prstGeom prst="rect">
            <a:avLst/>
          </a:prstGeom>
          <a:solidFill>
            <a:srgbClr val="FFC34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4C100E7-110B-7AAF-F042-3E3895390FA1}"/>
              </a:ext>
            </a:extLst>
          </p:cNvPr>
          <p:cNvSpPr txBox="1"/>
          <p:nvPr/>
        </p:nvSpPr>
        <p:spPr>
          <a:xfrm>
            <a:off x="2103782" y="3625334"/>
            <a:ext cx="67254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ABC745-1C8F-747E-FE8A-1247C2461118}"/>
              </a:ext>
            </a:extLst>
          </p:cNvPr>
          <p:cNvSpPr txBox="1"/>
          <p:nvPr/>
        </p:nvSpPr>
        <p:spPr>
          <a:xfrm>
            <a:off x="2103782" y="3625334"/>
            <a:ext cx="67254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0343D93-F425-C77F-D660-BEC0F3412323}"/>
              </a:ext>
            </a:extLst>
          </p:cNvPr>
          <p:cNvSpPr txBox="1"/>
          <p:nvPr/>
        </p:nvSpPr>
        <p:spPr>
          <a:xfrm>
            <a:off x="2103782" y="3625334"/>
            <a:ext cx="67254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1FA7577-32B0-58C3-1E58-359C58F47CB2}"/>
              </a:ext>
            </a:extLst>
          </p:cNvPr>
          <p:cNvSpPr txBox="1"/>
          <p:nvPr/>
        </p:nvSpPr>
        <p:spPr>
          <a:xfrm>
            <a:off x="2103782" y="3625334"/>
            <a:ext cx="67254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4B274FC-189F-8785-2153-4515CD64E364}"/>
              </a:ext>
            </a:extLst>
          </p:cNvPr>
          <p:cNvSpPr txBox="1"/>
          <p:nvPr/>
        </p:nvSpPr>
        <p:spPr>
          <a:xfrm>
            <a:off x="2103782" y="3625334"/>
            <a:ext cx="67254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7303004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E5FBA8-A784-2F28-F651-5B276FBD40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8E1456-4962-D233-46D7-97926AAD3DF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7662" y="2505670"/>
            <a:ext cx="8015416" cy="923330"/>
          </a:xfrm>
        </p:spPr>
        <p:txBody>
          <a:bodyPr>
            <a:spAutoFit/>
          </a:bodyPr>
          <a:lstStyle/>
          <a:p>
            <a:r>
              <a:rPr lang="en-US">
                <a:latin typeface="Roboto"/>
                <a:ea typeface="Roboto"/>
                <a:cs typeface="Roboto"/>
              </a:rPr>
              <a:t>Private Servic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F9F081A-9901-5236-6B96-2646892D76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7662" y="3928804"/>
            <a:ext cx="9410738" cy="451406"/>
          </a:xfrm>
        </p:spPr>
        <p:txBody>
          <a:bodyPr wrap="square">
            <a:spAutoFit/>
          </a:bodyPr>
          <a:lstStyle/>
          <a:p>
            <a:r>
              <a:rPr lang="en-US" dirty="0"/>
              <a:t>Opportunities and making it work in your pharmac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0A1C78-B83C-89F7-1E82-F3038AA8EC54}"/>
              </a:ext>
            </a:extLst>
          </p:cNvPr>
          <p:cNvSpPr/>
          <p:nvPr/>
        </p:nvSpPr>
        <p:spPr>
          <a:xfrm>
            <a:off x="775520" y="3579050"/>
            <a:ext cx="618165" cy="70507"/>
          </a:xfrm>
          <a:prstGeom prst="rect">
            <a:avLst/>
          </a:prstGeom>
          <a:solidFill>
            <a:srgbClr val="FFC34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D11E4890-AA8D-EFA5-BBE1-E73AC79A7471}"/>
              </a:ext>
            </a:extLst>
          </p:cNvPr>
          <p:cNvSpPr txBox="1">
            <a:spLocks/>
          </p:cNvSpPr>
          <p:nvPr/>
        </p:nvSpPr>
        <p:spPr>
          <a:xfrm>
            <a:off x="647661" y="5048309"/>
            <a:ext cx="7383975" cy="42575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 algn="ctr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 algn="ctr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 algn="ctr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 algn="ctr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2</a:t>
            </a:r>
            <a:r>
              <a:rPr kumimoji="0" lang="en-US" sz="20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October 2025 | Sanjeev Panesar &amp; Baldev Bange</a:t>
            </a:r>
          </a:p>
        </p:txBody>
      </p:sp>
    </p:spTree>
    <p:extLst>
      <p:ext uri="{BB962C8B-B14F-4D97-AF65-F5344CB8AC3E}">
        <p14:creationId xmlns:p14="http://schemas.microsoft.com/office/powerpoint/2010/main" val="38944966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874DE9-7CCE-7C94-E104-AF9C14A8BC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8F6544B-1C31-47FE-10B0-7D72161D5435}"/>
              </a:ext>
            </a:extLst>
          </p:cNvPr>
          <p:cNvSpPr/>
          <p:nvPr/>
        </p:nvSpPr>
        <p:spPr>
          <a:xfrm>
            <a:off x="885429" y="1934175"/>
            <a:ext cx="618165" cy="70507"/>
          </a:xfrm>
          <a:prstGeom prst="rect">
            <a:avLst/>
          </a:prstGeom>
          <a:solidFill>
            <a:srgbClr val="FFC34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E773942-98C9-CC40-A731-333E70B87FBD}"/>
              </a:ext>
            </a:extLst>
          </p:cNvPr>
          <p:cNvSpPr txBox="1">
            <a:spLocks/>
          </p:cNvSpPr>
          <p:nvPr/>
        </p:nvSpPr>
        <p:spPr>
          <a:xfrm>
            <a:off x="748378" y="483118"/>
            <a:ext cx="8015416" cy="131112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rowing your existing business, pivoting and culture change</a:t>
            </a: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sp>
        <p:nvSpPr>
          <p:cNvPr id="16" name="Content Placeholder 9">
            <a:extLst>
              <a:ext uri="{FF2B5EF4-FFF2-40B4-BE49-F238E27FC236}">
                <a16:creationId xmlns:a16="http://schemas.microsoft.com/office/drawing/2014/main" id="{EFA8FE55-B3E7-348F-FE16-5D4B9740C2C4}"/>
              </a:ext>
            </a:extLst>
          </p:cNvPr>
          <p:cNvSpPr txBox="1">
            <a:spLocks/>
          </p:cNvSpPr>
          <p:nvPr/>
        </p:nvSpPr>
        <p:spPr>
          <a:xfrm>
            <a:off x="748378" y="2357246"/>
            <a:ext cx="7885956" cy="504240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ts val="28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11430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6002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20574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alues – what differentiates you?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is your why and your vision?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taff engagement and buy in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uture proof premises – patient perception: consultations rooms/shop-fit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nt a space out for additional healthcare service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mote consultations / online services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alk to other Pharmacies, attend webinars, training and networking events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9" name="Picture Placeholder 14">
            <a:extLst>
              <a:ext uri="{FF2B5EF4-FFF2-40B4-BE49-F238E27FC236}">
                <a16:creationId xmlns:a16="http://schemas.microsoft.com/office/drawing/2014/main" id="{8B488FE4-5D7D-B78D-8382-7E960D85D10E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7637234" y="3429000"/>
            <a:ext cx="4384630" cy="3077046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1542071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12A87F-E171-D988-DB2D-ABB763365C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7C443C4-8D1F-5042-67A2-D7C56D7A793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7414" y="1681589"/>
            <a:ext cx="9445956" cy="4914166"/>
          </a:xfr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Build relationships and engage with local stakeholders: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ICBs,  PCNs, LPCs, local GPs, local businesses, care homes, schools, nurseries </a:t>
            </a:r>
            <a:r>
              <a:rPr lang="en-US" err="1"/>
              <a:t>etc</a:t>
            </a:r>
            <a:endParaRPr lang="en-US"/>
          </a:p>
          <a:p>
            <a:pPr lvl="1">
              <a:buFont typeface="Courier New" panose="02070309020205020404" pitchFamily="49" charset="0"/>
              <a:buChar char="o"/>
            </a:pP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You already know </a:t>
            </a:r>
            <a:r>
              <a:rPr lang="en-GB" noProof="0"/>
              <a:t>your demographics and who you are dealing with: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GB" noProof="0"/>
              <a:t>staff, surgeries, patients, local businesses</a:t>
            </a:r>
          </a:p>
          <a:p>
            <a:pPr lvl="1">
              <a:buFont typeface="Courier New" panose="02070309020205020404" pitchFamily="49" charset="0"/>
              <a:buChar char="o"/>
            </a:pPr>
            <a:endParaRPr lang="en-GB" noProof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noProof="0"/>
              <a:t>Research </a:t>
            </a:r>
            <a:r>
              <a:rPr lang="en-GB"/>
              <a:t>&amp; introduce</a:t>
            </a:r>
            <a:r>
              <a:rPr lang="en-GB" noProof="0"/>
              <a:t> innovative services to benefit your community</a:t>
            </a:r>
            <a:endParaRPr lang="en-GB"/>
          </a:p>
          <a:p>
            <a:pPr marL="342900" indent="-342900"/>
            <a:endParaRPr lang="en-GB"/>
          </a:p>
          <a:p>
            <a:pPr marL="342900" indent="-342900"/>
            <a:r>
              <a:rPr lang="en-GB"/>
              <a:t>Utilise staff to drive/promote services through personal networks</a:t>
            </a:r>
          </a:p>
          <a:p>
            <a:pPr>
              <a:lnSpc>
                <a:spcPts val="2800"/>
              </a:lnSpc>
            </a:pP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5FFD246-AEF9-5B91-BCD5-6ECBED52A8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2504" y="621318"/>
            <a:ext cx="9311044" cy="451406"/>
          </a:xfrm>
        </p:spPr>
        <p:txBody>
          <a:bodyPr wrap="square">
            <a:spAutoFit/>
          </a:bodyPr>
          <a:lstStyle/>
          <a:p>
            <a:r>
              <a:rPr lang="en-US" sz="2800" b="0" i="1"/>
              <a:t>Relationships: </a:t>
            </a:r>
            <a:r>
              <a:rPr lang="en-US" sz="2800" b="0" i="1" err="1"/>
              <a:t>Utilise</a:t>
            </a:r>
            <a:r>
              <a:rPr lang="en-US" sz="2800" b="0" i="1"/>
              <a:t> and build on what you already have…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F246FD2-7150-3C2A-45B8-0F82AEB10FAC}"/>
              </a:ext>
            </a:extLst>
          </p:cNvPr>
          <p:cNvSpPr/>
          <p:nvPr/>
        </p:nvSpPr>
        <p:spPr>
          <a:xfrm>
            <a:off x="865295" y="1341903"/>
            <a:ext cx="618165" cy="70507"/>
          </a:xfrm>
          <a:prstGeom prst="rect">
            <a:avLst/>
          </a:prstGeom>
          <a:solidFill>
            <a:srgbClr val="FFC34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Placeholder 14">
            <a:extLst>
              <a:ext uri="{FF2B5EF4-FFF2-40B4-BE49-F238E27FC236}">
                <a16:creationId xmlns:a16="http://schemas.microsoft.com/office/drawing/2014/main" id="{CF963DE4-CB00-9916-CB38-91FE794894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55" r="30255"/>
          <a:stretch/>
        </p:blipFill>
        <p:spPr>
          <a:xfrm>
            <a:off x="8844959" y="3115324"/>
            <a:ext cx="3481952" cy="3480431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8490594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41681C-9949-C543-D08C-097FD04D83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F528355-98B4-B02D-6FB7-BF0DBE20A8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376" y="421103"/>
            <a:ext cx="9246894" cy="480131"/>
          </a:xfrm>
        </p:spPr>
        <p:txBody>
          <a:bodyPr wrap="square">
            <a:spAutoFit/>
          </a:bodyPr>
          <a:lstStyle/>
          <a:p>
            <a:r>
              <a:rPr lang="en-US" sz="2800" i="1">
                <a:latin typeface="Roboto"/>
                <a:ea typeface="Roboto"/>
                <a:cs typeface="Roboto"/>
              </a:rPr>
              <a:t>Release capacity and get the foundations right…</a:t>
            </a:r>
            <a:endParaRPr lang="en-US" sz="2800" i="1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AAA2C3C-00D1-AE57-DF4A-D208C323863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717376" y="1280916"/>
            <a:ext cx="11169824" cy="5401479"/>
          </a:xfrm>
        </p:spPr>
        <p:txBody>
          <a:bodyPr wrap="square">
            <a:spAutoFit/>
          </a:bodyPr>
          <a:lstStyle/>
          <a:p>
            <a:r>
              <a:rPr lang="en-US"/>
              <a:t>Streamline business operations</a:t>
            </a:r>
            <a:r>
              <a:rPr lang="en-GB"/>
              <a:t> - r</a:t>
            </a:r>
            <a:r>
              <a:rPr lang="en-US" err="1"/>
              <a:t>eview</a:t>
            </a:r>
            <a:r>
              <a:rPr lang="en-US"/>
              <a:t> workflows and re-</a:t>
            </a:r>
            <a:r>
              <a:rPr lang="en-US" err="1"/>
              <a:t>organise</a:t>
            </a:r>
            <a:r>
              <a:rPr lang="en-US"/>
              <a:t> workloads</a:t>
            </a:r>
          </a:p>
          <a:p>
            <a:r>
              <a:rPr lang="en-GB"/>
              <a:t>Introduce new systems &amp; make processes more efficient</a:t>
            </a:r>
          </a:p>
          <a:p>
            <a:r>
              <a:rPr lang="en-GB"/>
              <a:t>Outsource anything that doesn’t need your direct involvement</a:t>
            </a:r>
            <a:endParaRPr lang="en-US"/>
          </a:p>
          <a:p>
            <a:r>
              <a:rPr lang="en-US" err="1"/>
              <a:t>Utilise</a:t>
            </a:r>
            <a:r>
              <a:rPr lang="en-US"/>
              <a:t> technology: PMR systems (barcode scanning tech), Patient messaging systems (reduce phone calls), booking platforms, buying systems, NHS/patient apps </a:t>
            </a:r>
            <a:r>
              <a:rPr lang="en-US" err="1"/>
              <a:t>etc</a:t>
            </a:r>
            <a:endParaRPr lang="en-US"/>
          </a:p>
          <a:p>
            <a:r>
              <a:rPr lang="en-US"/>
              <a:t>Re-purposing of staff - </a:t>
            </a:r>
            <a:r>
              <a:rPr lang="en-US" err="1"/>
              <a:t>Utilise</a:t>
            </a:r>
            <a:r>
              <a:rPr lang="en-US"/>
              <a:t> staff skillset and upskill to deliver revenue generating activity. </a:t>
            </a:r>
          </a:p>
          <a:p>
            <a:pPr>
              <a:lnSpc>
                <a:spcPts val="2800"/>
              </a:lnSpc>
            </a:pPr>
            <a:r>
              <a:rPr lang="en-US"/>
              <a:t>Marketing: Social media, websites, TVs, local businesses, </a:t>
            </a:r>
            <a:br>
              <a:rPr lang="en-US"/>
            </a:br>
            <a:r>
              <a:rPr lang="en-US"/>
              <a:t>friends &amp; family, PMR campaigns, leaflets, link consultations</a:t>
            </a:r>
          </a:p>
          <a:p>
            <a:pPr>
              <a:lnSpc>
                <a:spcPts val="2800"/>
              </a:lnSpc>
            </a:pPr>
            <a:r>
              <a:rPr lang="en-US"/>
              <a:t>Build your reputation and trust– local relationships</a:t>
            </a:r>
            <a:br>
              <a:rPr lang="en-US"/>
            </a:br>
            <a:r>
              <a:rPr lang="en-US"/>
              <a:t>with business and other healthcare providers</a:t>
            </a:r>
          </a:p>
          <a:p>
            <a:pPr>
              <a:lnSpc>
                <a:spcPts val="2800"/>
              </a:lnSpc>
            </a:pPr>
            <a:r>
              <a:rPr lang="en-US"/>
              <a:t>Google reviews</a:t>
            </a:r>
          </a:p>
          <a:p>
            <a:r>
              <a:rPr lang="en-US"/>
              <a:t>Staff retention &amp; job satisfac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79889B-52B8-8638-6DF5-FB95FE93E57C}"/>
              </a:ext>
            </a:extLst>
          </p:cNvPr>
          <p:cNvSpPr/>
          <p:nvPr/>
        </p:nvSpPr>
        <p:spPr>
          <a:xfrm>
            <a:off x="865295" y="1045644"/>
            <a:ext cx="618165" cy="70507"/>
          </a:xfrm>
          <a:prstGeom prst="rect">
            <a:avLst/>
          </a:prstGeom>
          <a:solidFill>
            <a:srgbClr val="FFC34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Placeholder 14">
            <a:extLst>
              <a:ext uri="{FF2B5EF4-FFF2-40B4-BE49-F238E27FC236}">
                <a16:creationId xmlns:a16="http://schemas.microsoft.com/office/drawing/2014/main" id="{C0754133-B26A-642C-A2BC-686430A146B9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5" r="6705"/>
          <a:stretch/>
        </p:blipFill>
        <p:spPr>
          <a:xfrm>
            <a:off x="7786255" y="4142509"/>
            <a:ext cx="4360775" cy="262555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2932685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536B0C-3A4B-A5E0-B49D-F9077A5C8E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022A710-DDCB-28ED-7BE6-95F3347887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841" y="1506944"/>
            <a:ext cx="7349482" cy="5018548"/>
          </a:xfrm>
        </p:spPr>
        <p:txBody>
          <a:bodyPr>
            <a:normAutofit fontScale="55000" lnSpcReduction="20000"/>
          </a:bodyPr>
          <a:lstStyle/>
          <a:p>
            <a:r>
              <a:rPr lang="en-US" sz="3300" dirty="0"/>
              <a:t>Set-up costs vary depending on PGD provider (e.g. </a:t>
            </a:r>
            <a:r>
              <a:rPr lang="en-US" sz="3300" dirty="0" err="1"/>
              <a:t>Charac</a:t>
            </a:r>
            <a:r>
              <a:rPr lang="en-US" sz="3300" dirty="0"/>
              <a:t>, </a:t>
            </a:r>
            <a:r>
              <a:rPr lang="en-US" sz="3300" dirty="0" err="1"/>
              <a:t>Pharmadoctor</a:t>
            </a:r>
            <a:r>
              <a:rPr lang="en-US" sz="3300" dirty="0"/>
              <a:t>, ECG, Voyager </a:t>
            </a:r>
            <a:r>
              <a:rPr lang="en-US" sz="3300" dirty="0" err="1"/>
              <a:t>etc</a:t>
            </a:r>
            <a:r>
              <a:rPr lang="en-US" sz="3300" dirty="0"/>
              <a:t>)– see what works for you and what you are looking to provide/focus on. Check Insurance</a:t>
            </a:r>
          </a:p>
          <a:p>
            <a:r>
              <a:rPr lang="en-US" sz="3300" dirty="0"/>
              <a:t>We have used </a:t>
            </a:r>
            <a:r>
              <a:rPr lang="en-US" sz="3300" dirty="0" err="1"/>
              <a:t>Charac</a:t>
            </a:r>
            <a:r>
              <a:rPr lang="en-US" sz="3300" dirty="0"/>
              <a:t> £150 per pharmacy (10% disc via NPA)</a:t>
            </a:r>
          </a:p>
          <a:p>
            <a:r>
              <a:rPr lang="en-US" sz="3300" dirty="0"/>
              <a:t>Workflow and patient journey: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3300" dirty="0"/>
              <a:t>Your time and workload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3300" dirty="0"/>
              <a:t>Pre-consultation ahead of the appointment – send forms in advance and complete prior to arrival.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3300" dirty="0" err="1"/>
              <a:t>Utilise</a:t>
            </a:r>
            <a:r>
              <a:rPr lang="en-US" sz="3300" dirty="0"/>
              <a:t> team for clinic measurements e.g. height, weight, blood pressure. 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3300" dirty="0"/>
              <a:t>Which services need the Pharmacist or can other team members support?</a:t>
            </a:r>
          </a:p>
          <a:p>
            <a:pPr marL="457200" lvl="1" indent="0">
              <a:buNone/>
            </a:pPr>
            <a:endParaRPr lang="en-US" sz="2900" dirty="0"/>
          </a:p>
        </p:txBody>
      </p:sp>
      <p:pic>
        <p:nvPicPr>
          <p:cNvPr id="12" name="Content Placeholder 7" descr="A person using a device to scan a ear&#10;&#10;AI-generated content may be incorrect.">
            <a:extLst>
              <a:ext uri="{FF2B5EF4-FFF2-40B4-BE49-F238E27FC236}">
                <a16:creationId xmlns:a16="http://schemas.microsoft.com/office/drawing/2014/main" id="{974FE61B-059E-BD3A-C3E4-CC61CA6564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41" r="3332"/>
          <a:stretch/>
        </p:blipFill>
        <p:spPr>
          <a:xfrm>
            <a:off x="7871812" y="0"/>
            <a:ext cx="4302747" cy="4289746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27A59CF-58AE-3730-1430-C77BF73C2B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34" t="3896" r="5092" b="-3896"/>
          <a:stretch/>
        </p:blipFill>
        <p:spPr>
          <a:xfrm>
            <a:off x="8691934" y="3241964"/>
            <a:ext cx="4171463" cy="4169641"/>
          </a:xfrm>
          <a:prstGeom prst="ellipse">
            <a:avLst/>
          </a:prstGeom>
          <a:noFill/>
        </p:spPr>
      </p:pic>
      <p:sp>
        <p:nvSpPr>
          <p:cNvPr id="14" name="Title 2">
            <a:extLst>
              <a:ext uri="{FF2B5EF4-FFF2-40B4-BE49-F238E27FC236}">
                <a16:creationId xmlns:a16="http://schemas.microsoft.com/office/drawing/2014/main" id="{FFDB95F6-1F5B-A7AA-E294-F3C3143E3904}"/>
              </a:ext>
            </a:extLst>
          </p:cNvPr>
          <p:cNvSpPr txBox="1">
            <a:spLocks/>
          </p:cNvSpPr>
          <p:nvPr/>
        </p:nvSpPr>
        <p:spPr>
          <a:xfrm>
            <a:off x="462841" y="429490"/>
            <a:ext cx="7349482" cy="86218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rowing your business with complimentary Private services</a:t>
            </a:r>
          </a:p>
        </p:txBody>
      </p:sp>
    </p:spTree>
    <p:extLst>
      <p:ext uri="{BB962C8B-B14F-4D97-AF65-F5344CB8AC3E}">
        <p14:creationId xmlns:p14="http://schemas.microsoft.com/office/powerpoint/2010/main" val="10358442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6083E5-B448-0B80-2F60-56B6233994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26729DF-1C8E-3327-4DCA-5671F0CCF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4757" y="451061"/>
            <a:ext cx="5614998" cy="480131"/>
          </a:xfrm>
        </p:spPr>
        <p:txBody>
          <a:bodyPr wrap="square">
            <a:spAutoFit/>
          </a:bodyPr>
          <a:lstStyle/>
          <a:p>
            <a:r>
              <a:rPr lang="en-US" sz="2800" b="1" i="1"/>
              <a:t>Private Services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6019C775-EF61-14F9-AB2D-0A292D89DA50}"/>
              </a:ext>
            </a:extLst>
          </p:cNvPr>
          <p:cNvSpPr txBox="1">
            <a:spLocks/>
          </p:cNvSpPr>
          <p:nvPr/>
        </p:nvSpPr>
        <p:spPr>
          <a:xfrm>
            <a:off x="800874" y="1054704"/>
            <a:ext cx="11391126" cy="676082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ts val="28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11430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6002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20574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ar wax removal /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icrosuction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ravel clinics and other vaccination clinics (HPV, pneumococcal, private flu &amp; Covid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tc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)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n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nd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omen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health clinics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eight management clinics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smetics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rmatology &amp; Skin cryotherapy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hlebotomy and allergy testing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P and remote consultations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olistic therapies – cupping, acupuncture, herbal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ealth &amp; Wellness clinics / coaching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harmacogenomics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444242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4" name="Picture 3" descr="A person holding a person's hand&#10;&#10;Description automatically generated">
            <a:extLst>
              <a:ext uri="{FF2B5EF4-FFF2-40B4-BE49-F238E27FC236}">
                <a16:creationId xmlns:a16="http://schemas.microsoft.com/office/drawing/2014/main" id="{FC5139C0-0DC5-0E05-A340-9CEFC70608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89742" y="4642935"/>
            <a:ext cx="2718286" cy="1812191"/>
          </a:xfrm>
          <a:prstGeom prst="rect">
            <a:avLst/>
          </a:prstGeom>
        </p:spPr>
      </p:pic>
      <p:pic>
        <p:nvPicPr>
          <p:cNvPr id="7" name="Picture 6" descr="A box of injection pen&#10;&#10;Description automatically generated">
            <a:extLst>
              <a:ext uri="{FF2B5EF4-FFF2-40B4-BE49-F238E27FC236}">
                <a16:creationId xmlns:a16="http://schemas.microsoft.com/office/drawing/2014/main" id="{973001A5-F6A9-9D01-F89E-E1E17029BA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0543" y="2411804"/>
            <a:ext cx="2540433" cy="117918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28E1DF7-79FE-25DE-47B0-7C7D6ED96F1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117" r="2593" b="2"/>
          <a:stretch/>
        </p:blipFill>
        <p:spPr>
          <a:xfrm>
            <a:off x="7066622" y="3209869"/>
            <a:ext cx="2154795" cy="2153853"/>
          </a:xfrm>
          <a:prstGeom prst="ellipse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339316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F0F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C83D854-FEE9-1273-F726-60372E75E7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D892AE-1CB3-6A15-B7C0-C2C44222A3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8199" y="1008714"/>
            <a:ext cx="9802092" cy="5952912"/>
          </a:xfrm>
        </p:spPr>
        <p:txBody>
          <a:bodyPr wrap="square">
            <a:spAutoFit/>
          </a:bodyPr>
          <a:lstStyle/>
          <a:p>
            <a:r>
              <a:rPr lang="en-US" sz="1800"/>
              <a:t>A growing part of our business</a:t>
            </a:r>
            <a:endParaRPr lang="en-US" sz="1800">
              <a:solidFill>
                <a:srgbClr val="00B05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/>
              <a:t>Travel Vaccinations (</a:t>
            </a:r>
            <a:r>
              <a:rPr lang="en-US" sz="1800" err="1"/>
              <a:t>E.g</a:t>
            </a:r>
            <a:r>
              <a:rPr lang="en-US" sz="1800"/>
              <a:t> Typhoid, Tetanus, </a:t>
            </a:r>
            <a:r>
              <a:rPr lang="en-US" sz="1800" err="1"/>
              <a:t>Diptheria</a:t>
            </a:r>
            <a:r>
              <a:rPr lang="en-US" sz="1800"/>
              <a:t>, Polio, Yellow fever: </a:t>
            </a:r>
            <a:br>
              <a:rPr lang="en-US" sz="1800"/>
            </a:br>
            <a:r>
              <a:rPr lang="en-US" sz="1800">
                <a:solidFill>
                  <a:schemeClr val="tx1"/>
                </a:solidFill>
              </a:rPr>
              <a:t>(</a:t>
            </a:r>
            <a:r>
              <a:rPr lang="en-US" sz="1800" b="1">
                <a:solidFill>
                  <a:srgbClr val="92D050"/>
                </a:solidFill>
              </a:rPr>
              <a:t>£40/dose </a:t>
            </a:r>
            <a:r>
              <a:rPr lang="en-US" sz="1800">
                <a:solidFill>
                  <a:srgbClr val="FF0000"/>
                </a:solidFill>
              </a:rPr>
              <a:t>Cost: £10</a:t>
            </a:r>
            <a:r>
              <a:rPr lang="en-US" sz="180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/>
              <a:t>Weight Loss clinics </a:t>
            </a:r>
            <a:r>
              <a:rPr lang="en-US" sz="1800" b="1">
                <a:solidFill>
                  <a:srgbClr val="92D050"/>
                </a:solidFill>
              </a:rPr>
              <a:t>(£140-£210 per pen </a:t>
            </a:r>
            <a:r>
              <a:rPr lang="en-US" sz="1800"/>
              <a:t>which lasts one month. Min approx. 4 months. </a:t>
            </a:r>
            <a:br>
              <a:rPr lang="en-US" sz="1800"/>
            </a:br>
            <a:r>
              <a:rPr lang="en-US" sz="1800"/>
              <a:t>Cost of </a:t>
            </a:r>
            <a:r>
              <a:rPr lang="en-US" sz="1800" err="1"/>
              <a:t>Mounjaro</a:t>
            </a:r>
            <a:r>
              <a:rPr lang="en-US" sz="1800"/>
              <a:t> is </a:t>
            </a:r>
            <a:r>
              <a:rPr lang="en-US" sz="1800">
                <a:solidFill>
                  <a:srgbClr val="FF0000"/>
                </a:solidFill>
              </a:rPr>
              <a:t>£92 - £107 </a:t>
            </a:r>
            <a:r>
              <a:rPr lang="en-US" sz="1800"/>
              <a:t>per pen)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/>
              <a:t>Meningitis ACWY </a:t>
            </a:r>
            <a:r>
              <a:rPr lang="en-US" sz="1800">
                <a:solidFill>
                  <a:schemeClr val="tx1"/>
                </a:solidFill>
              </a:rPr>
              <a:t>(</a:t>
            </a:r>
            <a:r>
              <a:rPr lang="en-US" sz="1800" b="1">
                <a:solidFill>
                  <a:srgbClr val="92D050"/>
                </a:solidFill>
              </a:rPr>
              <a:t>£55+ </a:t>
            </a:r>
            <a:r>
              <a:rPr lang="en-US" sz="1800">
                <a:solidFill>
                  <a:srgbClr val="FF0000"/>
                </a:solidFill>
              </a:rPr>
              <a:t>Cost: £30</a:t>
            </a:r>
            <a:r>
              <a:rPr lang="en-US" sz="180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/>
              <a:t>Hepatitis vaccinations </a:t>
            </a:r>
            <a:r>
              <a:rPr lang="en-US" sz="1800">
                <a:solidFill>
                  <a:schemeClr val="tx1"/>
                </a:solidFill>
              </a:rPr>
              <a:t>(</a:t>
            </a:r>
            <a:r>
              <a:rPr lang="en-US" sz="1800" b="1">
                <a:solidFill>
                  <a:srgbClr val="92D050"/>
                </a:solidFill>
              </a:rPr>
              <a:t>£55-£60/dose </a:t>
            </a:r>
            <a:r>
              <a:rPr lang="en-US" sz="1800">
                <a:solidFill>
                  <a:srgbClr val="FF0000"/>
                </a:solidFill>
              </a:rPr>
              <a:t>Cost: £25-30</a:t>
            </a:r>
            <a:r>
              <a:rPr lang="en-US" sz="1800"/>
              <a:t>) – 3 dos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/>
              <a:t>Shingles (</a:t>
            </a:r>
            <a:r>
              <a:rPr lang="en-US" sz="1800" b="1">
                <a:solidFill>
                  <a:srgbClr val="92D050"/>
                </a:solidFill>
              </a:rPr>
              <a:t>£220-£230/dose</a:t>
            </a:r>
            <a:r>
              <a:rPr lang="en-US" sz="1800"/>
              <a:t> </a:t>
            </a:r>
            <a:r>
              <a:rPr lang="en-US" sz="1800">
                <a:solidFill>
                  <a:srgbClr val="FF0000"/>
                </a:solidFill>
              </a:rPr>
              <a:t>Cost: £160</a:t>
            </a:r>
            <a:r>
              <a:rPr lang="en-US" sz="1800"/>
              <a:t>) – 2 dos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/>
              <a:t>Chickenpox </a:t>
            </a:r>
            <a:r>
              <a:rPr lang="en-US" sz="1800">
                <a:solidFill>
                  <a:schemeClr val="tx1"/>
                </a:solidFill>
              </a:rPr>
              <a:t>(</a:t>
            </a:r>
            <a:r>
              <a:rPr lang="en-US" sz="1800" b="1">
                <a:solidFill>
                  <a:srgbClr val="92D050"/>
                </a:solidFill>
              </a:rPr>
              <a:t>£75/dose </a:t>
            </a:r>
            <a:r>
              <a:rPr lang="en-US" sz="1800">
                <a:solidFill>
                  <a:srgbClr val="FF0000"/>
                </a:solidFill>
              </a:rPr>
              <a:t>Cost: £30/dose</a:t>
            </a:r>
            <a:r>
              <a:rPr lang="en-US" sz="1800"/>
              <a:t>) – 2 dos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/>
              <a:t>Covid </a:t>
            </a:r>
            <a:r>
              <a:rPr lang="en-US" sz="1800">
                <a:solidFill>
                  <a:schemeClr val="tx1"/>
                </a:solidFill>
              </a:rPr>
              <a:t>(</a:t>
            </a:r>
            <a:r>
              <a:rPr lang="en-US" sz="1800" b="1">
                <a:solidFill>
                  <a:srgbClr val="92D050"/>
                </a:solidFill>
              </a:rPr>
              <a:t>£75-£95</a:t>
            </a:r>
            <a:r>
              <a:rPr lang="en-US" sz="1800"/>
              <a:t>) – link with private Flu Vaccination</a:t>
            </a:r>
          </a:p>
          <a:p>
            <a:pPr marL="457200" lvl="1" indent="0">
              <a:buNone/>
            </a:pPr>
            <a:endParaRPr lang="en-US"/>
          </a:p>
          <a:p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B6FCC3-458B-C706-3284-352EFDB71D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224805"/>
            <a:ext cx="10515600" cy="646331"/>
          </a:xfrm>
        </p:spPr>
        <p:txBody>
          <a:bodyPr>
            <a:spAutoFit/>
          </a:bodyPr>
          <a:lstStyle/>
          <a:p>
            <a:r>
              <a:rPr lang="en-US" sz="4000"/>
              <a:t>Private Vaccination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250268A-252D-AA3B-C397-D7BCD0C70F75}"/>
              </a:ext>
            </a:extLst>
          </p:cNvPr>
          <p:cNvSpPr txBox="1">
            <a:spLocks/>
          </p:cNvSpPr>
          <p:nvPr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B448FE-F3DA-4649-9A42-31406BAB64E6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44242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44242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49CA5E8-D755-0BD6-49C4-82A104EFEC2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085279" y="5486868"/>
            <a:ext cx="745764" cy="2724322"/>
          </a:xfrm>
          <a:prstGeom prst="rect">
            <a:avLst/>
          </a:prstGeom>
        </p:spPr>
      </p:pic>
      <p:pic>
        <p:nvPicPr>
          <p:cNvPr id="6" name="Picture Placeholder 5" descr="A person holding a syringe&#10;&#10;Description automatically generated">
            <a:extLst>
              <a:ext uri="{FF2B5EF4-FFF2-40B4-BE49-F238E27FC236}">
                <a16:creationId xmlns:a16="http://schemas.microsoft.com/office/drawing/2014/main" id="{834D5177-5860-A594-A606-3D01F54919C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6643" r="16643"/>
          <a:stretch>
            <a:fillRect/>
          </a:stretch>
        </p:blipFill>
        <p:spPr>
          <a:xfrm>
            <a:off x="8032643" y="3171172"/>
            <a:ext cx="4916314" cy="4914167"/>
          </a:xfrm>
          <a:prstGeom prst="ellipse">
            <a:avLst/>
          </a:prstGeom>
          <a:solidFill>
            <a:schemeClr val="bg1"/>
          </a:solidFill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C066614-889E-A040-9D02-16DAFF5BF891}"/>
              </a:ext>
            </a:extLst>
          </p:cNvPr>
          <p:cNvSpPr/>
          <p:nvPr/>
        </p:nvSpPr>
        <p:spPr>
          <a:xfrm>
            <a:off x="954499" y="818370"/>
            <a:ext cx="8022497" cy="125522"/>
          </a:xfrm>
          <a:prstGeom prst="rect">
            <a:avLst/>
          </a:prstGeom>
          <a:solidFill>
            <a:srgbClr val="6557A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77241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F326BF-B814-BED2-7BAD-BF6EE78EE9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FD7072-7FCE-15AA-9844-36ECD269F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7092"/>
            <a:ext cx="8772728" cy="701731"/>
          </a:xfrm>
        </p:spPr>
        <p:txBody>
          <a:bodyPr/>
          <a:lstStyle/>
          <a:p>
            <a:r>
              <a:rPr lang="en-US"/>
              <a:t>Travel Clini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FFD8F3-CF4D-B192-E11B-2C61BA668B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6046" y="1609591"/>
            <a:ext cx="8180691" cy="5888792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Initial Travel Consultation: some charge £20/£25</a:t>
            </a:r>
          </a:p>
          <a:p>
            <a:r>
              <a:rPr lang="en-US" dirty="0">
                <a:solidFill>
                  <a:schemeClr val="tx1"/>
                </a:solidFill>
              </a:rPr>
              <a:t>Determine the needs of the patient (via teleconsultation). </a:t>
            </a:r>
          </a:p>
          <a:p>
            <a:r>
              <a:rPr lang="en-US" dirty="0">
                <a:solidFill>
                  <a:schemeClr val="tx1"/>
                </a:solidFill>
              </a:rPr>
              <a:t>Re-book for follow up doses if required</a:t>
            </a:r>
          </a:p>
          <a:p>
            <a:endParaRPr lang="en-US" dirty="0"/>
          </a:p>
          <a:p>
            <a:r>
              <a:rPr lang="en-US" dirty="0">
                <a:solidFill>
                  <a:schemeClr val="tx1"/>
                </a:solidFill>
              </a:rPr>
              <a:t>Number of Travel consultations in 12 months across 4 pharmacies with 8 trained Pharmacists: 2,210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Generated revenue: £276,251 (£125.00 per consultation)</a:t>
            </a:r>
          </a:p>
          <a:p>
            <a:endParaRPr lang="en-US" dirty="0"/>
          </a:p>
          <a:p>
            <a:r>
              <a:rPr lang="en-US" dirty="0">
                <a:solidFill>
                  <a:schemeClr val="tx1"/>
                </a:solidFill>
              </a:rPr>
              <a:t>Profit: In 12 months across 4 pharmacies </a:t>
            </a:r>
          </a:p>
          <a:p>
            <a:r>
              <a:rPr lang="en-US" dirty="0">
                <a:solidFill>
                  <a:schemeClr val="tx1"/>
                </a:solidFill>
              </a:rPr>
              <a:t> Vaccinations = £276,251 @ 50% margin = £138,125</a:t>
            </a:r>
          </a:p>
          <a:p>
            <a:pPr marL="457200" lvl="1" indent="0">
              <a:buNone/>
            </a:pPr>
            <a:r>
              <a:rPr lang="en-US" sz="1600" dirty="0">
                <a:solidFill>
                  <a:schemeClr val="tx1"/>
                </a:solidFill>
                <a:highlight>
                  <a:srgbClr val="ECF0F2"/>
                </a:highlight>
              </a:rPr>
              <a:t>		</a:t>
            </a:r>
            <a:r>
              <a:rPr lang="en-US" sz="1600" dirty="0">
                <a:solidFill>
                  <a:srgbClr val="FF0000"/>
                </a:solidFill>
                <a:highlight>
                  <a:srgbClr val="ECF0F2"/>
                </a:highlight>
              </a:rPr>
              <a:t>(But you must deduct initial investment / training costs)</a:t>
            </a:r>
            <a:endParaRPr lang="en-US" dirty="0">
              <a:solidFill>
                <a:srgbClr val="FF0000"/>
              </a:solidFill>
              <a:highlight>
                <a:srgbClr val="ECF0F2"/>
              </a:highlight>
            </a:endParaRPr>
          </a:p>
          <a:p>
            <a:endParaRPr lang="en-US" dirty="0"/>
          </a:p>
          <a:p>
            <a:pPr lvl="1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3D48B3-CBE1-C1D6-6E87-34AE26FC61B8}"/>
              </a:ext>
            </a:extLst>
          </p:cNvPr>
          <p:cNvSpPr/>
          <p:nvPr/>
        </p:nvSpPr>
        <p:spPr>
          <a:xfrm>
            <a:off x="356046" y="1342663"/>
            <a:ext cx="8022497" cy="125522"/>
          </a:xfrm>
          <a:prstGeom prst="rect">
            <a:avLst/>
          </a:prstGeom>
          <a:solidFill>
            <a:srgbClr val="6557A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E2CA554-9675-3E91-E9D2-6E02F9BADEA5}"/>
              </a:ext>
            </a:extLst>
          </p:cNvPr>
          <p:cNvSpPr/>
          <p:nvPr/>
        </p:nvSpPr>
        <p:spPr>
          <a:xfrm>
            <a:off x="356046" y="3231324"/>
            <a:ext cx="8022497" cy="125522"/>
          </a:xfrm>
          <a:prstGeom prst="rect">
            <a:avLst/>
          </a:prstGeom>
          <a:solidFill>
            <a:srgbClr val="6557A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A3F72D05-501A-B125-F795-F417C8F842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38" r="16538"/>
          <a:stretch/>
        </p:blipFill>
        <p:spPr>
          <a:xfrm>
            <a:off x="8189796" y="0"/>
            <a:ext cx="4002203" cy="3990109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86EB37D-FE85-EAE7-5063-69509021995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34" t="3896" r="5092" b="-3896"/>
          <a:stretch/>
        </p:blipFill>
        <p:spPr>
          <a:xfrm>
            <a:off x="8378543" y="3429000"/>
            <a:ext cx="4171463" cy="4169641"/>
          </a:xfrm>
          <a:prstGeom prst="ellipse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526846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39CB6E-BB85-D782-EFE5-42AA837C0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99288"/>
            <a:ext cx="8772728" cy="701731"/>
          </a:xfrm>
        </p:spPr>
        <p:txBody>
          <a:bodyPr/>
          <a:lstStyle/>
          <a:p>
            <a:r>
              <a:rPr lang="en-US"/>
              <a:t>Ear </a:t>
            </a:r>
            <a:r>
              <a:rPr lang="en-US" err="1"/>
              <a:t>Microsuction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867F25-120C-AB15-BF9C-8568A98195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3178" y="1353496"/>
            <a:ext cx="8827750" cy="5337359"/>
          </a:xfrm>
        </p:spPr>
        <p:txBody>
          <a:bodyPr/>
          <a:lstStyle/>
          <a:p>
            <a:r>
              <a:rPr lang="en-US"/>
              <a:t>Who can deliver the service: Any NVQ 2 or 3 trained member of the team </a:t>
            </a:r>
          </a:p>
          <a:p>
            <a:r>
              <a:rPr lang="en-US"/>
              <a:t>Booked or walk-in: 99% booked appointments</a:t>
            </a:r>
          </a:p>
          <a:p>
            <a:r>
              <a:rPr lang="en-US" b="1"/>
              <a:t>Time: </a:t>
            </a:r>
            <a:r>
              <a:rPr lang="en-US"/>
              <a:t>30 minutes but can be done much quicker. Pre-book</a:t>
            </a:r>
          </a:p>
          <a:p>
            <a:r>
              <a:rPr lang="en-US" b="1"/>
              <a:t>Price poin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£20.00 - £30.00 initial assessmen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£40.00 - £50.00 for one ear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£65.00 - £80.00 for both ears</a:t>
            </a:r>
          </a:p>
          <a:p>
            <a:r>
              <a:rPr lang="en-US" b="1"/>
              <a:t>Setup costs, rental and consumabl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£295 per trainee (one off) (NPA discount)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£250 one-off equipment cos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£200 per month rental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~£4 per client for consumables</a:t>
            </a:r>
          </a:p>
        </p:txBody>
      </p:sp>
      <p:pic>
        <p:nvPicPr>
          <p:cNvPr id="5" name="Content Placeholder 7" descr="A person using a device to scan a ear&#10;&#10;AI-generated content may be incorrect.">
            <a:extLst>
              <a:ext uri="{FF2B5EF4-FFF2-40B4-BE49-F238E27FC236}">
                <a16:creationId xmlns:a16="http://schemas.microsoft.com/office/drawing/2014/main" id="{D349FC2D-FE38-4BEE-B088-0EC211AC91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41" r="3332"/>
          <a:stretch/>
        </p:blipFill>
        <p:spPr>
          <a:xfrm>
            <a:off x="7597103" y="2278504"/>
            <a:ext cx="4593374" cy="4579495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0AF452C-C874-8858-9B99-5AE3640BFBEF}"/>
              </a:ext>
            </a:extLst>
          </p:cNvPr>
          <p:cNvSpPr/>
          <p:nvPr/>
        </p:nvSpPr>
        <p:spPr>
          <a:xfrm>
            <a:off x="937937" y="1051735"/>
            <a:ext cx="8022497" cy="125522"/>
          </a:xfrm>
          <a:prstGeom prst="rect">
            <a:avLst/>
          </a:prstGeom>
          <a:solidFill>
            <a:srgbClr val="6557A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08907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E134DA-1B78-4223-B3EA-F2C0EF495A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FFC2BF-34AC-8956-27B8-4B6605B35B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06219"/>
            <a:ext cx="9729866" cy="701731"/>
          </a:xfrm>
        </p:spPr>
        <p:txBody>
          <a:bodyPr/>
          <a:lstStyle/>
          <a:p>
            <a:r>
              <a:rPr lang="en-US"/>
              <a:t>Ear </a:t>
            </a:r>
            <a:r>
              <a:rPr lang="en-US" err="1"/>
              <a:t>Microsuction</a:t>
            </a:r>
            <a:r>
              <a:rPr lang="en-US"/>
              <a:t> - examp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2C5FB95-6128-4DE0-D9F0-95E6CDBCC697}"/>
              </a:ext>
            </a:extLst>
          </p:cNvPr>
          <p:cNvSpPr/>
          <p:nvPr/>
        </p:nvSpPr>
        <p:spPr>
          <a:xfrm>
            <a:off x="731163" y="1431766"/>
            <a:ext cx="618165" cy="70507"/>
          </a:xfrm>
          <a:prstGeom prst="rect">
            <a:avLst/>
          </a:prstGeom>
          <a:solidFill>
            <a:srgbClr val="6557A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95F348-7469-3367-CABB-546209CC421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117" r="2593" b="2"/>
          <a:stretch/>
        </p:blipFill>
        <p:spPr>
          <a:xfrm>
            <a:off x="8753660" y="3671455"/>
            <a:ext cx="3848220" cy="3846539"/>
          </a:xfrm>
          <a:prstGeom prst="ellipse">
            <a:avLst/>
          </a:prstGeom>
          <a:noFill/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F76DF75-B170-8492-17E6-BB8138322406}"/>
              </a:ext>
            </a:extLst>
          </p:cNvPr>
          <p:cNvSpPr txBox="1">
            <a:spLocks/>
          </p:cNvSpPr>
          <p:nvPr/>
        </p:nvSpPr>
        <p:spPr>
          <a:xfrm>
            <a:off x="521365" y="1626090"/>
            <a:ext cx="9259944" cy="504240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ts val="28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11430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6002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20574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44424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ympahealth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4424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: 8-10 patients per week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4424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ample: 2 patients per week for two ears and 1 per week for one ear: £170/week = £8840 per annum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4424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ntal @ £200/month * 12 = £2400 per annum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4424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inus consumables £832 =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£5608 per annum</a:t>
            </a:r>
          </a:p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444242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come in </a:t>
            </a:r>
            <a:r>
              <a:rPr kumimoji="0" lang="en-US" sz="20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 months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via 2 pharmacies)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: £3,705.00</a:t>
            </a:r>
          </a:p>
          <a:p>
            <a:pPr marL="685800" marR="0" lvl="1" indent="-228600" algn="l" defTabSz="914400" rtl="0" eaLnBrk="1" fontAlgn="auto" latinLnBrk="0" hangingPunct="1">
              <a:lnSpc>
                <a:spcPts val="2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2 people for two ears (@ £70) =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£2,940.00</a:t>
            </a:r>
          </a:p>
          <a:p>
            <a:pPr marL="685800" marR="0" lvl="1" indent="-228600" algn="l" defTabSz="914400" rtl="0" eaLnBrk="1" fontAlgn="auto" latinLnBrk="0" hangingPunct="1">
              <a:lnSpc>
                <a:spcPts val="2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8 people for one ear (@ £42.50) =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£765.00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sts deducted for </a:t>
            </a:r>
            <a:r>
              <a:rPr kumimoji="0" lang="en-US" sz="20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 month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(via 2 pharmacies)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: £1,440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c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consumables)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fit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£2,265.00 (or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£9060 per annum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CD8A53-6966-5D04-9AC5-06DD4FCFE757}"/>
              </a:ext>
            </a:extLst>
          </p:cNvPr>
          <p:cNvSpPr txBox="1"/>
          <p:nvPr/>
        </p:nvSpPr>
        <p:spPr>
          <a:xfrm>
            <a:off x="11362544" y="70453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4BDD377-93A2-7347-223D-47BAB332F42D}"/>
              </a:ext>
            </a:extLst>
          </p:cNvPr>
          <p:cNvSpPr/>
          <p:nvPr/>
        </p:nvSpPr>
        <p:spPr>
          <a:xfrm>
            <a:off x="731163" y="4065973"/>
            <a:ext cx="8022497" cy="125522"/>
          </a:xfrm>
          <a:prstGeom prst="rect">
            <a:avLst/>
          </a:prstGeom>
          <a:solidFill>
            <a:srgbClr val="6557A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BCBC6BB-C3E0-3ADC-9026-59F54D1C3686}"/>
              </a:ext>
            </a:extLst>
          </p:cNvPr>
          <p:cNvSpPr/>
          <p:nvPr/>
        </p:nvSpPr>
        <p:spPr>
          <a:xfrm>
            <a:off x="731162" y="1431766"/>
            <a:ext cx="8022497" cy="125522"/>
          </a:xfrm>
          <a:prstGeom prst="rect">
            <a:avLst/>
          </a:prstGeom>
          <a:solidFill>
            <a:srgbClr val="6557A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7228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A4DB7-2D60-B603-5AB7-6BE43FFBE4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3487" y="456346"/>
            <a:ext cx="6688728" cy="1556870"/>
          </a:xfrm>
        </p:spPr>
        <p:txBody>
          <a:bodyPr anchor="b">
            <a:normAutofit fontScale="90000"/>
          </a:bodyPr>
          <a:lstStyle/>
          <a:p>
            <a:r>
              <a:rPr lang="en-GB" sz="4000" dirty="0"/>
              <a:t>Will your current practice model survive the next 10 years?</a:t>
            </a:r>
          </a:p>
        </p:txBody>
      </p:sp>
      <p:pic>
        <p:nvPicPr>
          <p:cNvPr id="5" name="Content Placeholder 4" descr="A group of people sitting on a couch watching a television&#10;&#10;Description automatically generated">
            <a:extLst>
              <a:ext uri="{FF2B5EF4-FFF2-40B4-BE49-F238E27FC236}">
                <a16:creationId xmlns:a16="http://schemas.microsoft.com/office/drawing/2014/main" id="{5231F6B2-AE3E-961E-6BCC-83F58022A70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r="-4" b="5566"/>
          <a:stretch/>
        </p:blipFill>
        <p:spPr>
          <a:xfrm>
            <a:off x="20" y="10"/>
            <a:ext cx="4038580" cy="2145155"/>
          </a:xfrm>
          <a:prstGeom prst="rect">
            <a:avLst/>
          </a:prstGeom>
        </p:spPr>
      </p:pic>
      <p:pic>
        <p:nvPicPr>
          <p:cNvPr id="8" name="Picture 7" descr="A store front with signs on the windows&#10;&#10;Description automatically generated">
            <a:extLst>
              <a:ext uri="{FF2B5EF4-FFF2-40B4-BE49-F238E27FC236}">
                <a16:creationId xmlns:a16="http://schemas.microsoft.com/office/drawing/2014/main" id="{C2486A27-6D19-725A-EF56-8CB8996629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rcRect t="6396" r="-4" b="4790"/>
          <a:stretch/>
        </p:blipFill>
        <p:spPr>
          <a:xfrm>
            <a:off x="20" y="2145165"/>
            <a:ext cx="4038580" cy="2125091"/>
          </a:xfrm>
          <a:prstGeom prst="rect">
            <a:avLst/>
          </a:prstGeom>
        </p:spPr>
      </p:pic>
      <p:pic>
        <p:nvPicPr>
          <p:cNvPr id="11" name="Picture 10" descr="A red and blue logo&#10;&#10;Description automatically generated">
            <a:extLst>
              <a:ext uri="{FF2B5EF4-FFF2-40B4-BE49-F238E27FC236}">
                <a16:creationId xmlns:a16="http://schemas.microsoft.com/office/drawing/2014/main" id="{1E5B9C6E-F447-CD59-24C2-FF44EDCA0C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rcRect r="3040" b="-4"/>
          <a:stretch/>
        </p:blipFill>
        <p:spPr>
          <a:xfrm>
            <a:off x="20" y="4257004"/>
            <a:ext cx="4038580" cy="2145165"/>
          </a:xfrm>
          <a:prstGeom prst="rect">
            <a:avLst/>
          </a:prstGeom>
        </p:spPr>
      </p:pic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234BC9C9-E37A-58C2-61F9-0BA0F60E9F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26000" y="2276179"/>
            <a:ext cx="6716214" cy="3461155"/>
          </a:xfrm>
        </p:spPr>
        <p:txBody>
          <a:bodyPr>
            <a:normAutofit fontScale="77500" lnSpcReduction="20000"/>
          </a:bodyPr>
          <a:lstStyle/>
          <a:p>
            <a:r>
              <a:rPr lang="en-US" sz="2400" dirty="0"/>
              <a:t>Do you remember Blockbuster Videos?</a:t>
            </a:r>
          </a:p>
          <a:p>
            <a:r>
              <a:rPr lang="en-US" sz="2400" dirty="0"/>
              <a:t>Do you remember International Call cards?</a:t>
            </a:r>
          </a:p>
          <a:p>
            <a:r>
              <a:rPr lang="en-US" sz="2400" dirty="0"/>
              <a:t>Very soon they will say, do you remember land lines?</a:t>
            </a:r>
          </a:p>
          <a:p>
            <a:r>
              <a:rPr lang="en-US" sz="2400" dirty="0"/>
              <a:t>Do you remember Lloyds Pharmacy?</a:t>
            </a:r>
          </a:p>
          <a:p>
            <a:r>
              <a:rPr lang="en-US" sz="2400" dirty="0"/>
              <a:t>May they never say, do you remember “YOUR” Pharmacy?</a:t>
            </a:r>
          </a:p>
          <a:p>
            <a:r>
              <a:rPr lang="en-GB" sz="2400" dirty="0"/>
              <a:t>The future of Community Pharmacy depends on how we remodel with the times.</a:t>
            </a:r>
            <a:endParaRPr lang="en-US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9463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778CE7-703B-9CBD-1621-EB0608964B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546664-F8C6-F6BE-C6B3-804635A11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38" y="409744"/>
            <a:ext cx="8772728" cy="701731"/>
          </a:xfrm>
        </p:spPr>
        <p:txBody>
          <a:bodyPr/>
          <a:lstStyle/>
          <a:p>
            <a:r>
              <a:rPr lang="en-US"/>
              <a:t>Weight Loss - examp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EDEE74-E9C7-B92A-F605-0D938C1365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307" y="1408909"/>
            <a:ext cx="9012637" cy="5760551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Weight Loss clinics price point: £140-£210 per pen which lasts one month.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Min approx. 4 months.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Cost of </a:t>
            </a:r>
            <a:r>
              <a:rPr lang="en-US" dirty="0" err="1">
                <a:solidFill>
                  <a:schemeClr val="tx1"/>
                </a:solidFill>
              </a:rPr>
              <a:t>Mounjaro</a:t>
            </a:r>
            <a:r>
              <a:rPr lang="en-US" dirty="0">
                <a:solidFill>
                  <a:schemeClr val="tx1"/>
                </a:solidFill>
              </a:rPr>
              <a:t> is + £107 per pen</a:t>
            </a:r>
          </a:p>
          <a:p>
            <a:r>
              <a:rPr lang="en-US" dirty="0">
                <a:solidFill>
                  <a:schemeClr val="tx1"/>
                </a:solidFill>
              </a:rPr>
              <a:t>Initial Consultation approx. 30-40 mins</a:t>
            </a:r>
          </a:p>
          <a:p>
            <a:r>
              <a:rPr lang="en-US" dirty="0">
                <a:solidFill>
                  <a:schemeClr val="tx1"/>
                </a:solidFill>
              </a:rPr>
              <a:t>Monthly follow up: 20-30 mins</a:t>
            </a:r>
          </a:p>
          <a:p>
            <a:r>
              <a:rPr lang="en-US" dirty="0" err="1">
                <a:solidFill>
                  <a:schemeClr val="tx1"/>
                </a:solidFill>
              </a:rPr>
              <a:t>Utilise</a:t>
            </a:r>
            <a:r>
              <a:rPr lang="en-US" dirty="0">
                <a:solidFill>
                  <a:schemeClr val="tx1"/>
                </a:solidFill>
              </a:rPr>
              <a:t> team members e.g. height, weight, blood pressure</a:t>
            </a:r>
          </a:p>
          <a:p>
            <a:r>
              <a:rPr lang="en-US" dirty="0">
                <a:solidFill>
                  <a:schemeClr val="tx1"/>
                </a:solidFill>
              </a:rPr>
              <a:t>USP – Face to Face healthcare advice and coaching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Number of Weight loss clinics in 6 months: </a:t>
            </a:r>
            <a:r>
              <a:rPr lang="en-US" u="sng" dirty="0">
                <a:solidFill>
                  <a:schemeClr val="tx1"/>
                </a:solidFill>
              </a:rPr>
              <a:t>321 consultations</a:t>
            </a:r>
            <a:br>
              <a:rPr lang="en-US" u="sng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Generated revenue: £54,600.00 (£170/patient)</a:t>
            </a:r>
          </a:p>
          <a:p>
            <a:r>
              <a:rPr lang="en-US" dirty="0">
                <a:solidFill>
                  <a:schemeClr val="tx1"/>
                </a:solidFill>
              </a:rPr>
              <a:t>Profit: In 6 months across </a:t>
            </a:r>
            <a:r>
              <a:rPr lang="en-US" u="sng" dirty="0">
                <a:solidFill>
                  <a:schemeClr val="tx1"/>
                </a:solidFill>
              </a:rPr>
              <a:t>2 pharmacies</a:t>
            </a:r>
            <a:r>
              <a:rPr lang="en-US" dirty="0">
                <a:solidFill>
                  <a:schemeClr val="tx1"/>
                </a:solidFill>
              </a:rPr>
              <a:t> 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  <a:highlight>
                  <a:srgbClr val="ECF0F2"/>
                </a:highlight>
              </a:rPr>
              <a:t>once costs </a:t>
            </a:r>
            <a:r>
              <a:rPr lang="en-US" dirty="0">
                <a:solidFill>
                  <a:schemeClr val="tx1"/>
                </a:solidFill>
              </a:rPr>
              <a:t>deducted: approx. </a:t>
            </a:r>
            <a:r>
              <a:rPr lang="en-US" b="1" dirty="0">
                <a:solidFill>
                  <a:srgbClr val="92D050"/>
                </a:solidFill>
              </a:rPr>
              <a:t>£22,500.00</a:t>
            </a:r>
          </a:p>
          <a:p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FAA2A1C5-05AE-8B7A-39C3-83E778B60C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9" r="22"/>
          <a:stretch/>
        </p:blipFill>
        <p:spPr>
          <a:xfrm>
            <a:off x="7771380" y="2452255"/>
            <a:ext cx="4419097" cy="4405744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583CF84-C61B-8BF1-1A1B-6A8B000AF35C}"/>
              </a:ext>
            </a:extLst>
          </p:cNvPr>
          <p:cNvSpPr/>
          <p:nvPr/>
        </p:nvSpPr>
        <p:spPr>
          <a:xfrm>
            <a:off x="422307" y="4664457"/>
            <a:ext cx="7043348" cy="101788"/>
          </a:xfrm>
          <a:prstGeom prst="rect">
            <a:avLst/>
          </a:prstGeom>
          <a:solidFill>
            <a:srgbClr val="6557A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3992C5-7E8F-FC73-DB45-7B29588D70B1}"/>
              </a:ext>
            </a:extLst>
          </p:cNvPr>
          <p:cNvSpPr/>
          <p:nvPr/>
        </p:nvSpPr>
        <p:spPr>
          <a:xfrm>
            <a:off x="422307" y="1157327"/>
            <a:ext cx="7043348" cy="101788"/>
          </a:xfrm>
          <a:prstGeom prst="rect">
            <a:avLst/>
          </a:prstGeom>
          <a:solidFill>
            <a:srgbClr val="6557A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68780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C95827-3FCA-8749-7EC1-BEDED70DA6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6AD7AA-CCE7-07CE-4DB4-B99D1E4EF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350" y="1036840"/>
            <a:ext cx="8772728" cy="646331"/>
          </a:xfrm>
        </p:spPr>
        <p:txBody>
          <a:bodyPr/>
          <a:lstStyle/>
          <a:p>
            <a:r>
              <a:rPr lang="en-US" sz="4000"/>
              <a:t>Weight Loss clinics – changing liv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5833199-F816-C1C8-FED8-2D36954508C1}"/>
              </a:ext>
            </a:extLst>
          </p:cNvPr>
          <p:cNvSpPr/>
          <p:nvPr/>
        </p:nvSpPr>
        <p:spPr>
          <a:xfrm>
            <a:off x="564217" y="1731983"/>
            <a:ext cx="618165" cy="70507"/>
          </a:xfrm>
          <a:prstGeom prst="rect">
            <a:avLst/>
          </a:prstGeom>
          <a:solidFill>
            <a:srgbClr val="6557A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5C1C42C-1BB6-FC9F-625B-466CE5C6BF10}"/>
              </a:ext>
            </a:extLst>
          </p:cNvPr>
          <p:cNvSpPr txBox="1"/>
          <p:nvPr/>
        </p:nvSpPr>
        <p:spPr>
          <a:xfrm>
            <a:off x="6250983" y="1767236"/>
            <a:ext cx="4690820" cy="40010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+mn-cs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359B7"/>
                </a:solidFill>
                <a:effectLst/>
                <a:uLnTx/>
                <a:uFillTx/>
                <a:latin typeface="Segoe UI Emoji" panose="020B0502040204020203" pitchFamily="34" charset="0"/>
                <a:ea typeface="Aptos" panose="020B0004020202020204" pitchFamily="34" charset="0"/>
                <a:cs typeface="Segoe UI Emoji" panose="020B0502040204020203" pitchFamily="34" charset="0"/>
              </a:rPr>
              <a:t>💪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359B7"/>
                </a:solidFill>
                <a:effectLst/>
                <a:uLnTx/>
                <a:uFillTx/>
                <a:latin typeface="Roboto" panose="02000000000000000000" pitchFamily="2" charset="0"/>
                <a:ea typeface="Aptos" panose="020B0004020202020204" pitchFamily="34" charset="0"/>
                <a:cs typeface="Calibri" panose="020F0502020204030204" pitchFamily="34" charset="0"/>
              </a:rPr>
              <a:t>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Aptos" panose="020B0004020202020204" pitchFamily="34" charset="0"/>
                <a:cs typeface="Calibri" panose="020F0502020204030204" pitchFamily="34" charset="0"/>
              </a:rPr>
              <a:t>Lost 4st 6lbs in weigh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Aptos" panose="020B0004020202020204" pitchFamily="34" charset="0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Emoji" panose="020B0502040204020203" pitchFamily="34" charset="0"/>
                <a:ea typeface="Aptos" panose="020B0004020202020204" pitchFamily="34" charset="0"/>
                <a:cs typeface="Segoe UI Emoji" panose="020B0502040204020203" pitchFamily="34" charset="0"/>
              </a:rPr>
              <a:t>💪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Aptos" panose="020B0004020202020204" pitchFamily="34" charset="0"/>
                <a:cs typeface="Calibri" panose="020F0502020204030204" pitchFamily="34" charset="0"/>
              </a:rPr>
              <a:t> BMI reduced by 7.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Aptos" panose="020B0004020202020204" pitchFamily="34" charset="0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Emoji" panose="020B0502040204020203" pitchFamily="34" charset="0"/>
                <a:ea typeface="Aptos" panose="020B0004020202020204" pitchFamily="34" charset="0"/>
                <a:cs typeface="Segoe UI Emoji" panose="020B0502040204020203" pitchFamily="34" charset="0"/>
              </a:rPr>
              <a:t>💪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Aptos" panose="020B0004020202020204" pitchFamily="34" charset="0"/>
                <a:cs typeface="Calibri" panose="020F0502020204030204" pitchFamily="34" charset="0"/>
              </a:rPr>
              <a:t> Waist circumference down 8 inch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Aptos" panose="020B0004020202020204" pitchFamily="34" charset="0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Emoji" panose="020B0502040204020203" pitchFamily="34" charset="0"/>
                <a:ea typeface="Aptos" panose="020B0004020202020204" pitchFamily="34" charset="0"/>
                <a:cs typeface="Segoe UI Emoji" panose="020B0502040204020203" pitchFamily="34" charset="0"/>
              </a:rPr>
              <a:t>💪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Aptos" panose="020B0004020202020204" pitchFamily="34" charset="0"/>
                <a:cs typeface="Calibri" panose="020F0502020204030204" pitchFamily="34" charset="0"/>
              </a:rPr>
              <a:t> Reversed T2 diabetes (diagnosed as a result of using the servic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Aptos" panose="020B0004020202020204" pitchFamily="34" charset="0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Emoji" panose="020B0502040204020203" pitchFamily="34" charset="0"/>
                <a:ea typeface="Aptos" panose="020B0004020202020204" pitchFamily="34" charset="0"/>
                <a:cs typeface="Segoe UI Emoji" panose="020B0502040204020203" pitchFamily="34" charset="0"/>
              </a:rPr>
              <a:t>💪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Aptos" panose="020B0004020202020204" pitchFamily="34" charset="0"/>
                <a:cs typeface="Calibri" panose="020F0502020204030204" pitchFamily="34" charset="0"/>
              </a:rPr>
              <a:t> High BP (diagnosed as a result of using the service) under control without med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Aptos" panose="020B0004020202020204" pitchFamily="34" charset="0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Emoji" panose="020B0502040204020203" pitchFamily="34" charset="0"/>
                <a:ea typeface="Aptos" panose="020B0004020202020204" pitchFamily="34" charset="0"/>
                <a:cs typeface="Segoe UI Emoji" panose="020B0502040204020203" pitchFamily="34" charset="0"/>
              </a:rPr>
              <a:t>💪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Aptos" panose="020B0004020202020204" pitchFamily="34" charset="0"/>
                <a:cs typeface="Calibri" panose="020F0502020204030204" pitchFamily="34" charset="0"/>
              </a:rPr>
              <a:t> Adopted a healthy di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Aptos" panose="020B0004020202020204" pitchFamily="34" charset="0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Emoji" panose="020B0502040204020203" pitchFamily="34" charset="0"/>
                <a:ea typeface="Aptos" panose="020B0004020202020204" pitchFamily="34" charset="0"/>
                <a:cs typeface="Segoe UI Emoji" panose="020B0502040204020203" pitchFamily="34" charset="0"/>
              </a:rPr>
              <a:t>💪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Aptos" panose="020B0004020202020204" pitchFamily="34" charset="0"/>
                <a:cs typeface="Calibri" panose="020F0502020204030204" pitchFamily="34" charset="0"/>
              </a:rPr>
              <a:t> Exercising on average 1hr/day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Aptos" panose="020B0004020202020204" pitchFamily="34" charset="0"/>
              <a:cs typeface="+mn-cs"/>
            </a:endParaRPr>
          </a:p>
        </p:txBody>
      </p:sp>
      <p:pic>
        <p:nvPicPr>
          <p:cNvPr id="4103" name="Picture 7">
            <a:extLst>
              <a:ext uri="{FF2B5EF4-FFF2-40B4-BE49-F238E27FC236}">
                <a16:creationId xmlns:a16="http://schemas.microsoft.com/office/drawing/2014/main" id="{CA3721BA-047F-8027-875D-4C7C79346F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350" y="2115838"/>
            <a:ext cx="5710664" cy="3448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48871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F6754E-E34A-3BE5-34A5-569DEF3011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6E6DA40-CAAF-3B52-7675-FD33AE4233D4}"/>
              </a:ext>
            </a:extLst>
          </p:cNvPr>
          <p:cNvSpPr txBox="1">
            <a:spLocks/>
          </p:cNvSpPr>
          <p:nvPr/>
        </p:nvSpPr>
        <p:spPr>
          <a:xfrm>
            <a:off x="890815" y="1167080"/>
            <a:ext cx="11146287" cy="529888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ts val="28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11430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6002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20574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ar wax removal /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icrosuction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ravel clinics and other vaccination clinics (HPV, pneumococcal, private flu &amp; Covid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tc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)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n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nd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omen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health clinics (menopause clinics)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eight management clinics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smetics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rmatology &amp; Skin cryotherapy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hlebotomy and allergy testing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P and remote consultations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olistic therapies – cupping, acupuncture, herbal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ealth &amp; Wellness clinics / coaching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harmacogenomic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AF1954A-6244-6956-9B6B-C2415FB9B0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5727" y="392034"/>
            <a:ext cx="7201700" cy="646331"/>
          </a:xfrm>
        </p:spPr>
        <p:txBody>
          <a:bodyPr/>
          <a:lstStyle/>
          <a:p>
            <a:r>
              <a:rPr lang="en-US" sz="4000"/>
              <a:t>What Next…</a:t>
            </a:r>
          </a:p>
        </p:txBody>
      </p:sp>
      <p:pic>
        <p:nvPicPr>
          <p:cNvPr id="13" name="Picture 12" descr="A person with a face and hands on her neck&#10;&#10;AI-generated content may be incorrect.">
            <a:extLst>
              <a:ext uri="{FF2B5EF4-FFF2-40B4-BE49-F238E27FC236}">
                <a16:creationId xmlns:a16="http://schemas.microsoft.com/office/drawing/2014/main" id="{F936604F-4C16-CC49-0032-2F832BD69C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7427" y="2293495"/>
            <a:ext cx="4123296" cy="5536263"/>
          </a:xfrm>
          <a:prstGeom prst="rect">
            <a:avLst/>
          </a:prstGeom>
        </p:spPr>
      </p:pic>
      <p:pic>
        <p:nvPicPr>
          <p:cNvPr id="15" name="Picture 14" descr="A person getting a blood sample from a needle&#10;&#10;AI-generated content may be incorrect.">
            <a:extLst>
              <a:ext uri="{FF2B5EF4-FFF2-40B4-BE49-F238E27FC236}">
                <a16:creationId xmlns:a16="http://schemas.microsoft.com/office/drawing/2014/main" id="{1143F49B-1084-BC96-7914-7D29614147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154" y="2800523"/>
            <a:ext cx="3048000" cy="20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8245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1EBB53-F0E8-DC8D-DB00-1507CEFB35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25AD78BE-EEC1-F883-D71B-FA7D81001016}"/>
              </a:ext>
            </a:extLst>
          </p:cNvPr>
          <p:cNvSpPr txBox="1">
            <a:spLocks/>
          </p:cNvSpPr>
          <p:nvPr/>
        </p:nvSpPr>
        <p:spPr>
          <a:xfrm>
            <a:off x="890815" y="1167080"/>
            <a:ext cx="11146287" cy="497828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ts val="28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11430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6002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20574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P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scuss Neighborhood with PCN/ICB/Surgery- start the discussion- Co-create a plan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pskill reception teams 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ardiovascular Disease- what can we do as a team</a:t>
            </a:r>
          </a:p>
          <a:p>
            <a:pPr marL="685800" marR="0" lvl="1" indent="-228600" algn="l" defTabSz="914400" rtl="0" eaLnBrk="1" fontAlgn="auto" latinLnBrk="0" hangingPunct="1">
              <a:lnSpc>
                <a:spcPts val="2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P screening </a:t>
            </a:r>
          </a:p>
          <a:p>
            <a:pPr marL="685800" marR="0" lvl="1" indent="-228600" algn="l" defTabSz="914400" rtl="0" eaLnBrk="1" fontAlgn="auto" latinLnBrk="0" hangingPunct="1">
              <a:lnSpc>
                <a:spcPts val="2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BPM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ipid testing</a:t>
            </a:r>
          </a:p>
          <a:p>
            <a:pPr marL="685800" marR="0" lvl="1" indent="-228600" algn="l" defTabSz="914400" rtl="0" eaLnBrk="1" fontAlgn="auto" latinLnBrk="0" hangingPunct="1">
              <a:lnSpc>
                <a:spcPts val="2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helbotomy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et-up with local CVS lead at surgery and 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ningitis jab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CAA1507-E5B0-53E8-EAC2-1C33972F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5727" y="392034"/>
            <a:ext cx="7201700" cy="646331"/>
          </a:xfrm>
        </p:spPr>
        <p:txBody>
          <a:bodyPr/>
          <a:lstStyle/>
          <a:p>
            <a:r>
              <a:rPr lang="en-US" sz="4000" dirty="0"/>
              <a:t>What Next…</a:t>
            </a:r>
          </a:p>
        </p:txBody>
      </p:sp>
    </p:spTree>
    <p:extLst>
      <p:ext uri="{BB962C8B-B14F-4D97-AF65-F5344CB8AC3E}">
        <p14:creationId xmlns:p14="http://schemas.microsoft.com/office/powerpoint/2010/main" val="36410283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5E975F-9133-812B-802A-E0D771D7B2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7931C78E-454D-B3A9-DAA1-86545119E46E}"/>
              </a:ext>
            </a:extLst>
          </p:cNvPr>
          <p:cNvSpPr txBox="1">
            <a:spLocks/>
          </p:cNvSpPr>
          <p:nvPr/>
        </p:nvSpPr>
        <p:spPr>
          <a:xfrm>
            <a:off x="890815" y="1167080"/>
            <a:ext cx="11146287" cy="286232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ts val="28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11430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6002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2057400" indent="-22860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alk</a:t>
            </a: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l – 07539012299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243487E-712B-EE3F-D73B-6825C3451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5727" y="392034"/>
            <a:ext cx="7201700" cy="646331"/>
          </a:xfrm>
        </p:spPr>
        <p:txBody>
          <a:bodyPr/>
          <a:lstStyle/>
          <a:p>
            <a:r>
              <a:rPr lang="en-US" sz="4000" dirty="0"/>
              <a:t>What Next…</a:t>
            </a:r>
          </a:p>
        </p:txBody>
      </p:sp>
    </p:spTree>
    <p:extLst>
      <p:ext uri="{BB962C8B-B14F-4D97-AF65-F5344CB8AC3E}">
        <p14:creationId xmlns:p14="http://schemas.microsoft.com/office/powerpoint/2010/main" val="5425914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8C2821-C1C7-BF27-AED9-623450D1B8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8721"/>
            <a:ext cx="6585155" cy="1225650"/>
          </a:xfrm>
        </p:spPr>
        <p:txBody>
          <a:bodyPr anchor="b">
            <a:normAutofit/>
          </a:bodyPr>
          <a:lstStyle/>
          <a:p>
            <a:r>
              <a:rPr lang="en-GB" dirty="0">
                <a:solidFill>
                  <a:schemeClr val="tx1"/>
                </a:solidFill>
              </a:rPr>
              <a:t>What is the 10 year plan?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5A6F0EE-5B8D-9724-0D29-629C94F12D22}"/>
              </a:ext>
            </a:extLst>
          </p:cNvPr>
          <p:cNvSpPr txBox="1">
            <a:spLocks/>
          </p:cNvSpPr>
          <p:nvPr/>
        </p:nvSpPr>
        <p:spPr>
          <a:xfrm>
            <a:off x="1229032" y="2156151"/>
            <a:ext cx="7865807" cy="279654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NHS to be reinvented through 3 radical shifts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3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ospital to community</a:t>
            </a:r>
          </a:p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3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3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nalogue to digital</a:t>
            </a:r>
          </a:p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3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3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ickness to prevention</a:t>
            </a:r>
          </a:p>
        </p:txBody>
      </p:sp>
    </p:spTree>
    <p:extLst>
      <p:ext uri="{BB962C8B-B14F-4D97-AF65-F5344CB8AC3E}">
        <p14:creationId xmlns:p14="http://schemas.microsoft.com/office/powerpoint/2010/main" val="19014880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798C6B-E772-8D79-BF84-831C3439EB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6115" y="2728571"/>
            <a:ext cx="8015416" cy="646331"/>
          </a:xfrm>
        </p:spPr>
        <p:txBody>
          <a:bodyPr>
            <a:spAutoFit/>
          </a:bodyPr>
          <a:lstStyle/>
          <a:p>
            <a:r>
              <a:rPr lang="en-US" sz="4000">
                <a:latin typeface="Roboto"/>
                <a:ea typeface="Roboto"/>
                <a:cs typeface="Roboto"/>
              </a:rPr>
              <a:t>Making the NHS work for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44F4C7-94AA-5D35-1C4F-9F375A8597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6115" y="4032969"/>
            <a:ext cx="5628673" cy="451406"/>
          </a:xfrm>
        </p:spPr>
        <p:txBody>
          <a:bodyPr wrap="square">
            <a:spAutoFit/>
          </a:bodyPr>
          <a:lstStyle/>
          <a:p>
            <a:r>
              <a:rPr lang="en-US" err="1"/>
              <a:t>Maximising</a:t>
            </a:r>
            <a:r>
              <a:rPr lang="en-US"/>
              <a:t> income from NHS Servic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04325D-57DD-2465-FFB2-2ED423C0C108}"/>
              </a:ext>
            </a:extLst>
          </p:cNvPr>
          <p:cNvSpPr/>
          <p:nvPr/>
        </p:nvSpPr>
        <p:spPr>
          <a:xfrm>
            <a:off x="504102" y="3629194"/>
            <a:ext cx="618165" cy="70507"/>
          </a:xfrm>
          <a:prstGeom prst="rect">
            <a:avLst/>
          </a:prstGeom>
          <a:solidFill>
            <a:srgbClr val="FFC34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close-up of a logo&#10;&#10;AI-generated content may be incorrect.">
            <a:extLst>
              <a:ext uri="{FF2B5EF4-FFF2-40B4-BE49-F238E27FC236}">
                <a16:creationId xmlns:a16="http://schemas.microsoft.com/office/drawing/2014/main" id="{D11C7AC0-038E-C1F6-16C4-5B836F476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102" y="4817643"/>
            <a:ext cx="3959399" cy="1578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1389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C9012E-105E-68A2-CB1D-69222B2AE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08732"/>
            <a:ext cx="9325131" cy="646331"/>
          </a:xfrm>
        </p:spPr>
        <p:txBody>
          <a:bodyPr/>
          <a:lstStyle/>
          <a:p>
            <a:r>
              <a:rPr lang="en-GB" sz="4000">
                <a:solidFill>
                  <a:schemeClr val="tx1"/>
                </a:solidFill>
              </a:rPr>
              <a:t>Core dispensing &amp; reducing leakag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33E1A0B-211B-01D3-8037-93E6C39AB8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8200" y="1135172"/>
            <a:ext cx="7269162" cy="4939814"/>
          </a:xfr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</a:rPr>
              <a:t>Endorsing Prescriptions / Claiming Prescription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2000">
                <a:solidFill>
                  <a:schemeClr val="tx1"/>
                </a:solidFill>
              </a:rPr>
              <a:t>Broken Bulk, Special Orders, MF, etc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2000">
                <a:solidFill>
                  <a:schemeClr val="tx1"/>
                </a:solidFill>
              </a:rPr>
              <a:t>Resubmissions, MY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endParaRPr lang="en-US" sz="200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</a:rPr>
              <a:t>Payment Reconciliation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2000">
                <a:solidFill>
                  <a:schemeClr val="tx1"/>
                </a:solidFill>
              </a:rPr>
              <a:t>Expensive items, Specials, Rx switches, etc.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endParaRPr lang="en-US" sz="200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</a:rPr>
              <a:t>Review the services you do for FREE?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2000">
                <a:solidFill>
                  <a:schemeClr val="tx1"/>
                </a:solidFill>
              </a:rPr>
              <a:t>Delivery, MDS packs, etc.</a:t>
            </a:r>
          </a:p>
          <a:p>
            <a:pPr algn="ctr"/>
            <a:r>
              <a:rPr lang="en-US" b="1">
                <a:solidFill>
                  <a:schemeClr val="tx1"/>
                </a:solidFill>
              </a:rPr>
              <a:t>There is a difference between</a:t>
            </a:r>
          </a:p>
          <a:p>
            <a:pPr algn="ctr"/>
            <a:r>
              <a:rPr lang="en-US" sz="2400" b="1">
                <a:solidFill>
                  <a:schemeClr val="tx1"/>
                </a:solidFill>
              </a:rPr>
              <a:t>“a GOOD service and a FREE service</a:t>
            </a:r>
            <a:r>
              <a:rPr lang="en-US" sz="2400" b="1"/>
              <a:t>”</a:t>
            </a:r>
          </a:p>
        </p:txBody>
      </p:sp>
      <p:pic>
        <p:nvPicPr>
          <p:cNvPr id="8" name="Picture Placeholder 7" descr="A person in a white shirt&#10;&#10;Description automatically generated">
            <a:extLst>
              <a:ext uri="{FF2B5EF4-FFF2-40B4-BE49-F238E27FC236}">
                <a16:creationId xmlns:a16="http://schemas.microsoft.com/office/drawing/2014/main" id="{40F57263-3685-B1DB-37E3-4FB9BE9216E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l="12491" r="12491"/>
          <a:stretch>
            <a:fillRect/>
          </a:stretch>
        </p:blipFill>
        <p:spPr>
          <a:xfrm>
            <a:off x="7646610" y="2698230"/>
            <a:ext cx="5199412" cy="5197140"/>
          </a:xfrm>
        </p:spPr>
      </p:pic>
    </p:spTree>
    <p:extLst>
      <p:ext uri="{BB962C8B-B14F-4D97-AF65-F5344CB8AC3E}">
        <p14:creationId xmlns:p14="http://schemas.microsoft.com/office/powerpoint/2010/main" val="23127560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4A2DFC9-AB02-3BB3-8089-092C53E82F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467" y="359338"/>
            <a:ext cx="12411995" cy="590931"/>
          </a:xfrm>
        </p:spPr>
        <p:txBody>
          <a:bodyPr/>
          <a:lstStyle/>
          <a:p>
            <a:r>
              <a:rPr lang="en-GB" sz="3600">
                <a:solidFill>
                  <a:schemeClr val="tx1"/>
                </a:solidFill>
              </a:rPr>
              <a:t>NHS Services….missed opportunities?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8CBF439B-B2E5-BC9A-3CE5-2674C34E6BA1}"/>
              </a:ext>
            </a:extLst>
          </p:cNvPr>
          <p:cNvSpPr txBox="1">
            <a:spLocks/>
          </p:cNvSpPr>
          <p:nvPr/>
        </p:nvSpPr>
        <p:spPr>
          <a:xfrm>
            <a:off x="599467" y="1078818"/>
            <a:ext cx="4648394" cy="432426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 algn="l" defTabSz="914400" rtl="0" eaLnBrk="1" latinLnBrk="0" hangingPunct="1">
              <a:lnSpc>
                <a:spcPts val="28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rgbClr val="44424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ational Advanced Services:</a:t>
            </a:r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MS</a:t>
            </a:r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MS</a:t>
            </a:r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FD</a:t>
            </a:r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lood Pressure checks and ABPM</a:t>
            </a:r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traception Initiation &amp; EHC</a:t>
            </a:r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lu &amp; Covid Vaccination</a:t>
            </a:r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harmacy First</a:t>
            </a:r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moking Cess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AC4C24-AE8C-B026-2151-A4B9AEA4A147}"/>
              </a:ext>
            </a:extLst>
          </p:cNvPr>
          <p:cNvSpPr txBox="1"/>
          <p:nvPr/>
        </p:nvSpPr>
        <p:spPr>
          <a:xfrm>
            <a:off x="5178588" y="1078818"/>
            <a:ext cx="5247006" cy="5114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Roboto" pitchFamily="2" charset="0"/>
              </a:rPr>
              <a:t>Local </a:t>
            </a:r>
            <a:r>
              <a:rPr kumimoji="0" lang="en-US" sz="20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rPr>
              <a:t>Enhanced Services:</a:t>
            </a:r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rPr>
              <a:t>RSV and Pertussis Vaccination</a:t>
            </a:r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Roboto" pitchFamily="2" charset="0"/>
              </a:rPr>
              <a:t>Needle Exchange &amp; Naloxone Supply</a:t>
            </a:r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Roboto" pitchFamily="2" charset="0"/>
              </a:rPr>
              <a:t>Supervised Consumption</a:t>
            </a:r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Roboto" pitchFamily="2" charset="0"/>
              </a:rPr>
              <a:t>Smoking Cessation</a:t>
            </a:r>
          </a:p>
          <a:p>
            <a:pPr marL="342900" marR="0" lvl="0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Roboto" pitchFamily="2" charset="0"/>
              </a:rPr>
              <a:t>Sexual Health: </a:t>
            </a:r>
          </a:p>
          <a:p>
            <a:pPr marL="800100" marR="0" lvl="1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Roboto" pitchFamily="2" charset="0"/>
              </a:rPr>
              <a:t>EHC</a:t>
            </a:r>
          </a:p>
          <a:p>
            <a:pPr marL="800100" marR="0" lvl="1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Roboto" pitchFamily="2" charset="0"/>
              </a:rPr>
              <a:t>STI testing</a:t>
            </a:r>
          </a:p>
          <a:p>
            <a:pPr marL="800100" marR="0" lvl="1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Roboto" pitchFamily="2" charset="0"/>
              </a:rPr>
              <a:t>Chlamydia treatment</a:t>
            </a:r>
          </a:p>
          <a:p>
            <a:pPr marL="800100" marR="0" lvl="1" indent="-342900" algn="l" defTabSz="914400" rtl="0" eaLnBrk="1" fontAlgn="auto" latinLnBrk="0" hangingPunct="1">
              <a:lnSpc>
                <a:spcPts val="2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Roboto" pitchFamily="2" charset="0"/>
              </a:rPr>
              <a:t>Condom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Placeholder 14" descr="A person wearing a mask and a white coat talking on a phone&#10;&#10;Description automatically generated">
            <a:extLst>
              <a:ext uri="{FF2B5EF4-FFF2-40B4-BE49-F238E27FC236}">
                <a16:creationId xmlns:a16="http://schemas.microsoft.com/office/drawing/2014/main" id="{5959D2F3-272F-D0AF-4E0C-24223F91860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12509" b="12509"/>
          <a:stretch>
            <a:fillRect/>
          </a:stretch>
        </p:blipFill>
        <p:spPr>
          <a:xfrm>
            <a:off x="8649325" y="3240949"/>
            <a:ext cx="4130600" cy="4128796"/>
          </a:xfrm>
        </p:spPr>
      </p:pic>
    </p:spTree>
    <p:extLst>
      <p:ext uri="{BB962C8B-B14F-4D97-AF65-F5344CB8AC3E}">
        <p14:creationId xmlns:p14="http://schemas.microsoft.com/office/powerpoint/2010/main" val="32452649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EB7AAC-DF45-8C1A-C459-A172E94741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3A10F87-7219-897E-03D6-6F5F31FE2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494" y="347388"/>
            <a:ext cx="9659646" cy="646331"/>
          </a:xfrm>
        </p:spPr>
        <p:txBody>
          <a:bodyPr/>
          <a:lstStyle/>
          <a:p>
            <a:r>
              <a:rPr lang="en-GB" sz="4000">
                <a:solidFill>
                  <a:schemeClr val="tx1"/>
                </a:solidFill>
              </a:rPr>
              <a:t>Changes to NHS Funding &amp; Services…</a:t>
            </a:r>
          </a:p>
        </p:txBody>
      </p:sp>
      <p:pic>
        <p:nvPicPr>
          <p:cNvPr id="7" name="Picture 6" descr="A poster of a health care company&#10;&#10;AI-generated content may be incorrect.">
            <a:extLst>
              <a:ext uri="{FF2B5EF4-FFF2-40B4-BE49-F238E27FC236}">
                <a16:creationId xmlns:a16="http://schemas.microsoft.com/office/drawing/2014/main" id="{0D9F75E2-2CAC-4248-CFC2-4E650B4E01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829" r="52412" b="26167"/>
          <a:stretch/>
        </p:blipFill>
        <p:spPr>
          <a:xfrm>
            <a:off x="588802" y="1157209"/>
            <a:ext cx="3344730" cy="4075467"/>
          </a:xfrm>
          <a:prstGeom prst="rect">
            <a:avLst/>
          </a:prstGeom>
        </p:spPr>
      </p:pic>
      <p:pic>
        <p:nvPicPr>
          <p:cNvPr id="9" name="Picture 8" descr="A poster of a health care company&#10;&#10;AI-generated content may be incorrect.">
            <a:extLst>
              <a:ext uri="{FF2B5EF4-FFF2-40B4-BE49-F238E27FC236}">
                <a16:creationId xmlns:a16="http://schemas.microsoft.com/office/drawing/2014/main" id="{44F74E06-1469-BEAE-975C-BCD00E4906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143" r="50725"/>
          <a:stretch/>
        </p:blipFill>
        <p:spPr>
          <a:xfrm>
            <a:off x="8429611" y="1075480"/>
            <a:ext cx="3463339" cy="2669338"/>
          </a:xfrm>
          <a:prstGeom prst="rect">
            <a:avLst/>
          </a:prstGeom>
        </p:spPr>
      </p:pic>
      <p:pic>
        <p:nvPicPr>
          <p:cNvPr id="10" name="Picture 9" descr="A poster of a health care company&#10;&#10;AI-generated content may be incorrect.">
            <a:extLst>
              <a:ext uri="{FF2B5EF4-FFF2-40B4-BE49-F238E27FC236}">
                <a16:creationId xmlns:a16="http://schemas.microsoft.com/office/drawing/2014/main" id="{DF6E449B-9708-11D4-DE78-F2CA4F4FDD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09" t="33924" r="1004" b="10719"/>
          <a:stretch/>
        </p:blipFill>
        <p:spPr>
          <a:xfrm>
            <a:off x="4670753" y="1075480"/>
            <a:ext cx="3344730" cy="5502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7738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22996A-4A7D-63F5-4E0E-E296DADEB3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D4E84B-A3AB-3958-6F7B-EF13687CC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1472" y="598959"/>
            <a:ext cx="10515600" cy="646331"/>
          </a:xfrm>
        </p:spPr>
        <p:txBody>
          <a:bodyPr/>
          <a:lstStyle/>
          <a:p>
            <a:r>
              <a:rPr lang="en-US" sz="4000"/>
              <a:t>Funding sources for national clinical services</a:t>
            </a:r>
            <a:endParaRPr lang="en-GB" sz="400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D6A342-8AE5-6832-AD94-C2B67160C4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1700" y="1419405"/>
            <a:ext cx="8775701" cy="4460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3507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6EBD96-A0D8-B57F-B25E-F9F3ED9066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6147" y="1273904"/>
            <a:ext cx="8592725" cy="5529719"/>
          </a:xfr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A staple part of our busines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Covid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Flu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Reaching out to local covid team for outreach programs/care hom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pproach local businesses, schools, offices for private vaccin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pproach retirement homes to raise awareness and arrange clinic day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RSV &amp; Pertussis </a:t>
            </a: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GB" sz="2000" b="1" dirty="0">
                <a:solidFill>
                  <a:schemeClr val="tx1"/>
                </a:solidFill>
              </a:rPr>
              <a:t>Pharmacy teams are trained and ready, ideally located, accessible </a:t>
            </a:r>
            <a:br>
              <a:rPr lang="en-GB" sz="2000" b="1" dirty="0">
                <a:solidFill>
                  <a:schemeClr val="tx1"/>
                </a:solidFill>
              </a:rPr>
            </a:br>
            <a:r>
              <a:rPr lang="en-GB" sz="2000" b="1" dirty="0">
                <a:solidFill>
                  <a:schemeClr val="tx1"/>
                </a:solidFill>
              </a:rPr>
              <a:t>&amp; have the necessary skill mix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94F219-C6F1-570E-7AEA-0810686480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147" y="438903"/>
            <a:ext cx="10515600" cy="701731"/>
          </a:xfrm>
        </p:spPr>
        <p:txBody>
          <a:bodyPr>
            <a:spAutoFit/>
          </a:bodyPr>
          <a:lstStyle/>
          <a:p>
            <a:r>
              <a:rPr lang="en-US">
                <a:solidFill>
                  <a:schemeClr val="tx1"/>
                </a:solidFill>
              </a:rPr>
              <a:t>NHS Vaccinatio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B7ADA10-2341-1C0A-D9D5-52DDF89273A8}"/>
              </a:ext>
            </a:extLst>
          </p:cNvPr>
          <p:cNvSpPr/>
          <p:nvPr/>
        </p:nvSpPr>
        <p:spPr>
          <a:xfrm>
            <a:off x="989403" y="1105381"/>
            <a:ext cx="618165" cy="70507"/>
          </a:xfrm>
          <a:prstGeom prst="rect">
            <a:avLst/>
          </a:prstGeom>
          <a:solidFill>
            <a:srgbClr val="6557A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3342D6B-1A35-9D68-8174-E10FA6E2F658}"/>
              </a:ext>
            </a:extLst>
          </p:cNvPr>
          <p:cNvSpPr txBox="1">
            <a:spLocks/>
          </p:cNvSpPr>
          <p:nvPr/>
        </p:nvSpPr>
        <p:spPr>
          <a:xfrm>
            <a:off x="8976996" y="620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0" i="0" kern="1200">
                <a:solidFill>
                  <a:srgbClr val="444242"/>
                </a:solidFill>
                <a:latin typeface="Roboto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B448FE-F3DA-4649-9A42-31406BAB64E6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44242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44242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2530597-86D7-186D-DC34-920A331C970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085279" y="5486868"/>
            <a:ext cx="745764" cy="2724322"/>
          </a:xfrm>
          <a:prstGeom prst="rect">
            <a:avLst/>
          </a:prstGeom>
        </p:spPr>
      </p:pic>
      <p:pic>
        <p:nvPicPr>
          <p:cNvPr id="6" name="Picture Placeholder 5" descr="A person holding a syringe&#10;&#10;Description automatically generated">
            <a:extLst>
              <a:ext uri="{FF2B5EF4-FFF2-40B4-BE49-F238E27FC236}">
                <a16:creationId xmlns:a16="http://schemas.microsoft.com/office/drawing/2014/main" id="{6F434D95-F435-13F0-624A-4ABAF7FF706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6643" r="16643"/>
          <a:stretch>
            <a:fillRect/>
          </a:stretch>
        </p:blipFill>
        <p:spPr>
          <a:xfrm>
            <a:off x="8976996" y="3021404"/>
            <a:ext cx="4438459" cy="4436521"/>
          </a:xfrm>
          <a:prstGeom prst="ellipse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3849494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4|4.1|3.8|3.7|3.8"/>
</p:tagLst>
</file>

<file path=ppt/theme/theme1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QVIA_V3.0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 Corporate PowerPoint Template" id="{FBF47825-BA15-42F8-B8DD-474EE679720A}" vid="{51500039-90C3-4EE0-82E8-5B46344F180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2</TotalTime>
  <Words>3157</Words>
  <Application>Microsoft Office PowerPoint</Application>
  <PresentationFormat>Widescreen</PresentationFormat>
  <Paragraphs>512</Paragraphs>
  <Slides>24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9" baseType="lpstr">
      <vt:lpstr>Aptos</vt:lpstr>
      <vt:lpstr>Arial</vt:lpstr>
      <vt:lpstr>Arial Narrow</vt:lpstr>
      <vt:lpstr>Calibri</vt:lpstr>
      <vt:lpstr>Courier New</vt:lpstr>
      <vt:lpstr>DM Sans</vt:lpstr>
      <vt:lpstr>Georgia</vt:lpstr>
      <vt:lpstr>Helvetica Neue</vt:lpstr>
      <vt:lpstr>Roboto</vt:lpstr>
      <vt:lpstr>Segoe UI Emoji</vt:lpstr>
      <vt:lpstr>System Font Regular</vt:lpstr>
      <vt:lpstr>Wingdings</vt:lpstr>
      <vt:lpstr>4_Office Theme</vt:lpstr>
      <vt:lpstr>IQVIA_V3.0.0</vt:lpstr>
      <vt:lpstr>think-cell Slide</vt:lpstr>
      <vt:lpstr>How to make your pharmacy services - ready for the NHS 10-year revolution</vt:lpstr>
      <vt:lpstr>Will your current practice model survive the next 10 years?</vt:lpstr>
      <vt:lpstr>What is the 10 year plan?</vt:lpstr>
      <vt:lpstr>Making the NHS work for you</vt:lpstr>
      <vt:lpstr>Core dispensing &amp; reducing leakage</vt:lpstr>
      <vt:lpstr>NHS Services….missed opportunities?</vt:lpstr>
      <vt:lpstr>Changes to NHS Funding &amp; Services…</vt:lpstr>
      <vt:lpstr>Funding sources for national clinical services</vt:lpstr>
      <vt:lpstr>NHS Vaccinations</vt:lpstr>
      <vt:lpstr>Private Services</vt:lpstr>
      <vt:lpstr>PowerPoint Presentation</vt:lpstr>
      <vt:lpstr>PowerPoint Presentation</vt:lpstr>
      <vt:lpstr>Release capacity and get the foundations right…</vt:lpstr>
      <vt:lpstr>PowerPoint Presentation</vt:lpstr>
      <vt:lpstr>Private Services</vt:lpstr>
      <vt:lpstr>Private Vaccinations</vt:lpstr>
      <vt:lpstr>Travel Clinic</vt:lpstr>
      <vt:lpstr>Ear Microsuction</vt:lpstr>
      <vt:lpstr>Ear Microsuction - example</vt:lpstr>
      <vt:lpstr>Weight Loss - example</vt:lpstr>
      <vt:lpstr>Weight Loss clinics – changing lives</vt:lpstr>
      <vt:lpstr>What Next…</vt:lpstr>
      <vt:lpstr>What Next…</vt:lpstr>
      <vt:lpstr>What Next…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Ingrid Cruickshank</dc:creator>
  <cp:lastModifiedBy>Ann-Marie Carrey</cp:lastModifiedBy>
  <cp:revision>6</cp:revision>
  <dcterms:created xsi:type="dcterms:W3CDTF">2026-06-16T13:59:37Z</dcterms:created>
  <dcterms:modified xsi:type="dcterms:W3CDTF">2026-07-02T10:50:14Z</dcterms:modified>
</cp:coreProperties>
</file>